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6.xml" ContentType="application/vnd.openxmlformats-officedocument.theme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888" r:id="rId1"/>
    <p:sldMasterId id="2147484192" r:id="rId2"/>
    <p:sldMasterId id="2147483686" r:id="rId3"/>
    <p:sldMasterId id="2147484180" r:id="rId4"/>
    <p:sldMasterId id="2147484200" r:id="rId5"/>
    <p:sldMasterId id="2147484204" r:id="rId6"/>
    <p:sldMasterId id="2147483905" r:id="rId7"/>
  </p:sldMasterIdLst>
  <p:notesMasterIdLst>
    <p:notesMasterId r:id="rId15"/>
  </p:notesMasterIdLst>
  <p:sldIdLst>
    <p:sldId id="256" r:id="rId8"/>
    <p:sldId id="490" r:id="rId9"/>
    <p:sldId id="466" r:id="rId10"/>
    <p:sldId id="444" r:id="rId11"/>
    <p:sldId id="494" r:id="rId12"/>
    <p:sldId id="459" r:id="rId13"/>
    <p:sldId id="481" r:id="rId14"/>
  </p:sldIdLst>
  <p:sldSz cx="12188825" cy="6858000"/>
  <p:notesSz cx="6858000" cy="9144000"/>
  <p:embeddedFontLst>
    <p:embeddedFont>
      <p:font typeface="Helvetica Neue" panose="020B0604020202020204" charset="0"/>
      <p:regular r:id="rId16"/>
      <p:bold r:id="rId17"/>
      <p:italic r:id="rId18"/>
      <p:boldItalic r:id="rId19"/>
    </p:embeddedFont>
    <p:embeddedFont>
      <p:font typeface="Lato Light" panose="020F0502020204030203" pitchFamily="34" charset="0"/>
      <p:regular r:id="rId20"/>
      <p:italic r:id="rId21"/>
    </p:embeddedFont>
    <p:embeddedFont>
      <p:font typeface="Noto Sans" panose="020B0502040504020204" pitchFamily="34" charset="0"/>
      <p:regular r:id="rId22"/>
      <p:bold r:id="rId23"/>
      <p:italic r:id="rId24"/>
      <p:boldItalic r:id="rId25"/>
    </p:embeddedFont>
    <p:embeddedFont>
      <p:font typeface="Open Sans" panose="020B0606030504020204" pitchFamily="34" charset="0"/>
      <p:regular r:id="rId26"/>
      <p:bold r:id="rId27"/>
      <p:italic r:id="rId28"/>
      <p:boldItalic r:id="rId29"/>
    </p:embeddedFont>
    <p:embeddedFont>
      <p:font typeface="Open Sans SemiBold" panose="020B0706030804020204" pitchFamily="34" charset="0"/>
      <p:bold r:id="rId30"/>
      <p:boldItalic r:id="rId31"/>
    </p:embeddedFont>
    <p:embeddedFont>
      <p:font typeface="Proxima Nova" panose="020B0604020202020204" charset="0"/>
      <p:regular r:id="rId32"/>
      <p:bold r:id="rId33"/>
      <p:italic r:id="rId34"/>
      <p:boldItalic r:id="rId35"/>
    </p:embeddedFont>
    <p:embeddedFont>
      <p:font typeface="Verdana" panose="020B0604030504040204" pitchFamily="34" charset="0"/>
      <p:regular r:id="rId36"/>
      <p:bold r:id="rId37"/>
      <p:italic r:id="rId38"/>
      <p:boldItalic r:id="rId3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144">
          <p15:clr>
            <a:srgbClr val="9AA0A6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00"/>
    <a:srgbClr val="339933"/>
    <a:srgbClr val="04B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2AFA2FD-57D1-44EB-98A6-322B1BEE68D2}">
  <a:tblStyle styleId="{82AFA2FD-57D1-44EB-98A6-322B1BEE68D2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B846BBD9-02D9-4415-9AFB-EAFEA7B2B756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3" autoAdjust="0"/>
    <p:restoredTop sz="94694"/>
  </p:normalViewPr>
  <p:slideViewPr>
    <p:cSldViewPr snapToGrid="0">
      <p:cViewPr varScale="1">
        <p:scale>
          <a:sx n="71" d="100"/>
          <a:sy n="71" d="100"/>
        </p:scale>
        <p:origin x="526" y="28"/>
      </p:cViewPr>
      <p:guideLst>
        <p:guide pos="144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9" Type="http://schemas.openxmlformats.org/officeDocument/2006/relationships/font" Target="fonts/font24.fntdata"/><Relationship Id="rId21" Type="http://schemas.openxmlformats.org/officeDocument/2006/relationships/font" Target="fonts/font6.fntdata"/><Relationship Id="rId34" Type="http://schemas.openxmlformats.org/officeDocument/2006/relationships/font" Target="fonts/font19.fntdata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font" Target="fonts/font14.fntdata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font" Target="fonts/font9.fntdata"/><Relationship Id="rId32" Type="http://schemas.openxmlformats.org/officeDocument/2006/relationships/font" Target="fonts/font17.fntdata"/><Relationship Id="rId37" Type="http://schemas.openxmlformats.org/officeDocument/2006/relationships/font" Target="fonts/font22.fntdata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28" Type="http://schemas.openxmlformats.org/officeDocument/2006/relationships/font" Target="fonts/font13.fntdata"/><Relationship Id="rId36" Type="http://schemas.openxmlformats.org/officeDocument/2006/relationships/font" Target="fonts/font21.fntdata"/><Relationship Id="rId10" Type="http://schemas.openxmlformats.org/officeDocument/2006/relationships/slide" Target="slides/slide3.xml"/><Relationship Id="rId19" Type="http://schemas.openxmlformats.org/officeDocument/2006/relationships/font" Target="fonts/font4.fntdata"/><Relationship Id="rId31" Type="http://schemas.openxmlformats.org/officeDocument/2006/relationships/font" Target="fonts/font16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font" Target="fonts/font15.fntdata"/><Relationship Id="rId35" Type="http://schemas.openxmlformats.org/officeDocument/2006/relationships/font" Target="fonts/font20.fntdata"/><Relationship Id="rId43" Type="http://schemas.openxmlformats.org/officeDocument/2006/relationships/tableStyles" Target="tableStyles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font" Target="fonts/font18.fntdata"/><Relationship Id="rId38" Type="http://schemas.openxmlformats.org/officeDocument/2006/relationships/font" Target="fonts/font23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6486" y="1143000"/>
            <a:ext cx="54849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1" name="Google Shape;186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1862" name="Google Shape;1862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1" name="Google Shape;3921;g241ed37b3ff_1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922" name="Google Shape;3922;g241ed37b3ff_1_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3923" name="Google Shape;3923;g241ed37b3ff_1_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t>2</a:t>
            </a:fld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4813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07" name="Google Shape;307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dirty="0"/>
          </a:p>
        </p:txBody>
      </p:sp>
      <p:sp>
        <p:nvSpPr>
          <p:cNvPr id="308" name="Google Shape;308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323" name="Google Shape;323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4813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7" name="Google Shape;4427;g29dc826ff1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428" name="Google Shape;4428;g29dc826ff17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2">
  <p:cSld name="Title - Frontiers_1_1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"/>
          <p:cNvSpPr/>
          <p:nvPr/>
        </p:nvSpPr>
        <p:spPr>
          <a:xfrm rot="10800000">
            <a:off x="2732328" y="325"/>
            <a:ext cx="9445500" cy="4304700"/>
          </a:xfrm>
          <a:prstGeom prst="rtTriangle">
            <a:avLst/>
          </a:prstGeom>
          <a:gradFill>
            <a:gsLst>
              <a:gs pos="0">
                <a:srgbClr val="CDF9FF"/>
              </a:gs>
              <a:gs pos="52999">
                <a:srgbClr val="F3FEFF"/>
              </a:gs>
              <a:gs pos="100000">
                <a:schemeClr val="lt1"/>
              </a:gs>
            </a:gsLst>
            <a:lin ang="1350003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2"/>
          <p:cNvSpPr txBox="1">
            <a:spLocks noGrp="1"/>
          </p:cNvSpPr>
          <p:nvPr>
            <p:ph type="subTitle" idx="1"/>
          </p:nvPr>
        </p:nvSpPr>
        <p:spPr>
          <a:xfrm>
            <a:off x="624211" y="4097333"/>
            <a:ext cx="6269700" cy="7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2"/>
          <p:cNvSpPr txBox="1">
            <a:spLocks noGrp="1"/>
          </p:cNvSpPr>
          <p:nvPr>
            <p:ph type="title"/>
          </p:nvPr>
        </p:nvSpPr>
        <p:spPr>
          <a:xfrm>
            <a:off x="618545" y="2557500"/>
            <a:ext cx="5655000" cy="13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None/>
              <a:defRPr sz="4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body" idx="2"/>
          </p:nvPr>
        </p:nvSpPr>
        <p:spPr>
          <a:xfrm>
            <a:off x="630475" y="6230467"/>
            <a:ext cx="62697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/>
            </a:lvl9pPr>
          </a:lstStyle>
          <a:p>
            <a:endParaRPr/>
          </a:p>
        </p:txBody>
      </p:sp>
      <p:sp>
        <p:nvSpPr>
          <p:cNvPr id="18" name="Google Shape;18;p2"/>
          <p:cNvSpPr/>
          <p:nvPr/>
        </p:nvSpPr>
        <p:spPr>
          <a:xfrm>
            <a:off x="7984290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5B574AAD-12A3-3792-2013-FCD19C57E6D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 1">
  <p:cSld name="CUSTOM_7_1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15"/>
          <p:cNvSpPr txBox="1">
            <a:spLocks noGrp="1"/>
          </p:cNvSpPr>
          <p:nvPr>
            <p:ph type="title"/>
          </p:nvPr>
        </p:nvSpPr>
        <p:spPr>
          <a:xfrm>
            <a:off x="609447" y="2581800"/>
            <a:ext cx="3726600" cy="1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88" name="Google Shape;88;p15"/>
          <p:cNvSpPr txBox="1">
            <a:spLocks noGrp="1"/>
          </p:cNvSpPr>
          <p:nvPr>
            <p:ph type="subTitle" idx="1"/>
          </p:nvPr>
        </p:nvSpPr>
        <p:spPr>
          <a:xfrm>
            <a:off x="609447" y="3779400"/>
            <a:ext cx="4361400" cy="4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None/>
              <a:defRPr sz="21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dk2"/>
              </a:buClr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89" name="Google Shape;89;p15"/>
          <p:cNvSpPr txBox="1">
            <a:spLocks noGrp="1"/>
          </p:cNvSpPr>
          <p:nvPr>
            <p:ph type="body" idx="2"/>
          </p:nvPr>
        </p:nvSpPr>
        <p:spPr>
          <a:xfrm>
            <a:off x="4970756" y="609600"/>
            <a:ext cx="6658200" cy="584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302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●"/>
              <a:defRPr sz="1600"/>
            </a:lvl1pPr>
            <a:lvl2pPr marL="914400" lvl="1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○"/>
              <a:defRPr sz="1600"/>
            </a:lvl2pPr>
            <a:lvl3pPr marL="1371600" lvl="2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■"/>
              <a:defRPr sz="1600"/>
            </a:lvl3pPr>
            <a:lvl4pPr marL="1828800" lvl="3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●"/>
              <a:defRPr sz="1600"/>
            </a:lvl4pPr>
            <a:lvl5pPr marL="2286000" lvl="4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○"/>
              <a:defRPr sz="1600"/>
            </a:lvl5pPr>
            <a:lvl6pPr marL="2743200" lvl="5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■"/>
              <a:defRPr sz="1600"/>
            </a:lvl6pPr>
            <a:lvl7pPr marL="3200400" lvl="6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●"/>
              <a:defRPr sz="1600"/>
            </a:lvl7pPr>
            <a:lvl8pPr marL="3657600" lvl="7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○"/>
              <a:defRPr sz="1600"/>
            </a:lvl8pPr>
            <a:lvl9pPr marL="4114800" lvl="8" indent="-33020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accent4"/>
              </a:buClr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90" name="Google Shape;90;p15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91" name="Google Shape;91;p15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TITLE_1_1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Google Shape;93;p16"/>
          <p:cNvCxnSpPr/>
          <p:nvPr/>
        </p:nvCxnSpPr>
        <p:spPr>
          <a:xfrm>
            <a:off x="6094475" y="1758000"/>
            <a:ext cx="0" cy="471120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4" name="Google Shape;94;p16"/>
          <p:cNvSpPr txBox="1">
            <a:spLocks noGrp="1"/>
          </p:cNvSpPr>
          <p:nvPr>
            <p:ph type="body" idx="1"/>
          </p:nvPr>
        </p:nvSpPr>
        <p:spPr>
          <a:xfrm>
            <a:off x="6094475" y="1758000"/>
            <a:ext cx="5504100" cy="4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21875" bIns="121875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 dirty="0"/>
          </a:p>
        </p:txBody>
      </p:sp>
      <p:sp>
        <p:nvSpPr>
          <p:cNvPr id="95" name="Google Shape;95;p16"/>
          <p:cNvSpPr txBox="1">
            <a:spLocks noGrp="1"/>
          </p:cNvSpPr>
          <p:nvPr>
            <p:ph type="title"/>
          </p:nvPr>
        </p:nvSpPr>
        <p:spPr>
          <a:xfrm>
            <a:off x="573615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96" name="Google Shape;96;p16"/>
          <p:cNvSpPr txBox="1">
            <a:spLocks noGrp="1"/>
          </p:cNvSpPr>
          <p:nvPr>
            <p:ph type="subTitle" idx="2"/>
          </p:nvPr>
        </p:nvSpPr>
        <p:spPr>
          <a:xfrm>
            <a:off x="609447" y="1219200"/>
            <a:ext cx="55041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None/>
              <a:defRPr sz="21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97" name="Google Shape;97;p16"/>
          <p:cNvSpPr txBox="1">
            <a:spLocks noGrp="1"/>
          </p:cNvSpPr>
          <p:nvPr>
            <p:ph type="body" idx="3"/>
          </p:nvPr>
        </p:nvSpPr>
        <p:spPr>
          <a:xfrm>
            <a:off x="609447" y="1758000"/>
            <a:ext cx="5504100" cy="4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98" name="Google Shape;98;p16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99" name="Google Shape;99;p16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36">
          <p15:clr>
            <a:srgbClr val="FA7B17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1">
  <p:cSld name="TITLE_1_1_2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1" name="Google Shape;101;p17"/>
          <p:cNvCxnSpPr/>
          <p:nvPr/>
        </p:nvCxnSpPr>
        <p:spPr>
          <a:xfrm rot="10800000">
            <a:off x="4919086" y="3394533"/>
            <a:ext cx="67251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2" name="Google Shape;102;p17"/>
          <p:cNvSpPr txBox="1">
            <a:spLocks noGrp="1"/>
          </p:cNvSpPr>
          <p:nvPr>
            <p:ph type="body" idx="1"/>
          </p:nvPr>
        </p:nvSpPr>
        <p:spPr>
          <a:xfrm>
            <a:off x="4770706" y="609600"/>
            <a:ext cx="6808800" cy="273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21875" bIns="121875" anchor="t" anchorCtr="0">
            <a:noAutofit/>
          </a:bodyPr>
          <a:lstStyle>
            <a:lvl1pPr marL="457200" lvl="0" indent="-3492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Char char="●"/>
              <a:defRPr sz="19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/>
            </a:lvl9pPr>
          </a:lstStyle>
          <a:p>
            <a:endParaRPr/>
          </a:p>
        </p:txBody>
      </p:sp>
      <p:sp>
        <p:nvSpPr>
          <p:cNvPr id="103" name="Google Shape;103;p17"/>
          <p:cNvSpPr txBox="1">
            <a:spLocks noGrp="1"/>
          </p:cNvSpPr>
          <p:nvPr>
            <p:ph type="title"/>
          </p:nvPr>
        </p:nvSpPr>
        <p:spPr>
          <a:xfrm>
            <a:off x="609447" y="2723400"/>
            <a:ext cx="3726600" cy="101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104" name="Google Shape;104;p17"/>
          <p:cNvSpPr txBox="1">
            <a:spLocks noGrp="1"/>
          </p:cNvSpPr>
          <p:nvPr>
            <p:ph type="subTitle" idx="2"/>
          </p:nvPr>
        </p:nvSpPr>
        <p:spPr>
          <a:xfrm>
            <a:off x="590152" y="3739400"/>
            <a:ext cx="3575400" cy="4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21875" bIns="121875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05" name="Google Shape;105;p17"/>
          <p:cNvSpPr txBox="1">
            <a:spLocks noGrp="1"/>
          </p:cNvSpPr>
          <p:nvPr>
            <p:ph type="body" idx="3"/>
          </p:nvPr>
        </p:nvSpPr>
        <p:spPr>
          <a:xfrm>
            <a:off x="4770706" y="3739400"/>
            <a:ext cx="6808800" cy="248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21875" bIns="121875" anchor="t" anchorCtr="0">
            <a:noAutofit/>
          </a:bodyPr>
          <a:lstStyle>
            <a:lvl1pPr marL="457200" lvl="0" indent="-3492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Char char="●"/>
              <a:defRPr sz="19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/>
            </a:lvl9pPr>
          </a:lstStyle>
          <a:p>
            <a:endParaRPr/>
          </a:p>
        </p:txBody>
      </p:sp>
      <p:sp>
        <p:nvSpPr>
          <p:cNvPr id="106" name="Google Shape;106;p17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07" name="Google Shape;107;p17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36">
          <p15:clr>
            <a:srgbClr val="FA7B17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TITLE_1_1_1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8"/>
          <p:cNvSpPr txBox="1">
            <a:spLocks noGrp="1"/>
          </p:cNvSpPr>
          <p:nvPr>
            <p:ph type="body" idx="1"/>
          </p:nvPr>
        </p:nvSpPr>
        <p:spPr>
          <a:xfrm>
            <a:off x="609447" y="1805200"/>
            <a:ext cx="3657900" cy="46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4380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110" name="Google Shape;110;p18"/>
          <p:cNvSpPr txBox="1">
            <a:spLocks noGrp="1"/>
          </p:cNvSpPr>
          <p:nvPr>
            <p:ph type="body" idx="2"/>
          </p:nvPr>
        </p:nvSpPr>
        <p:spPr>
          <a:xfrm>
            <a:off x="4265400" y="1805200"/>
            <a:ext cx="3657900" cy="461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4380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111" name="Google Shape;111;p18"/>
          <p:cNvSpPr txBox="1">
            <a:spLocks noGrp="1"/>
          </p:cNvSpPr>
          <p:nvPr>
            <p:ph type="body" idx="3"/>
          </p:nvPr>
        </p:nvSpPr>
        <p:spPr>
          <a:xfrm>
            <a:off x="7940113" y="1805200"/>
            <a:ext cx="3657900" cy="46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4380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cxnSp>
        <p:nvCxnSpPr>
          <p:cNvPr id="112" name="Google Shape;112;p18"/>
          <p:cNvCxnSpPr/>
          <p:nvPr/>
        </p:nvCxnSpPr>
        <p:spPr>
          <a:xfrm>
            <a:off x="4267265" y="1848433"/>
            <a:ext cx="0" cy="461070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3" name="Google Shape;113;p18"/>
          <p:cNvSpPr txBox="1">
            <a:spLocks noGrp="1"/>
          </p:cNvSpPr>
          <p:nvPr>
            <p:ph type="title"/>
          </p:nvPr>
        </p:nvSpPr>
        <p:spPr>
          <a:xfrm>
            <a:off x="628727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114" name="Google Shape;114;p18"/>
          <p:cNvSpPr txBox="1">
            <a:spLocks noGrp="1"/>
          </p:cNvSpPr>
          <p:nvPr>
            <p:ph type="subTitle" idx="4"/>
          </p:nvPr>
        </p:nvSpPr>
        <p:spPr>
          <a:xfrm>
            <a:off x="609447" y="1219200"/>
            <a:ext cx="5504100" cy="35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cxnSp>
        <p:nvCxnSpPr>
          <p:cNvPr id="115" name="Google Shape;115;p18"/>
          <p:cNvCxnSpPr/>
          <p:nvPr/>
        </p:nvCxnSpPr>
        <p:spPr>
          <a:xfrm>
            <a:off x="7940113" y="1848433"/>
            <a:ext cx="0" cy="461070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6" name="Google Shape;116;p18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17" name="Google Shape;117;p18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36">
          <p15:clr>
            <a:srgbClr val="FA7B17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image + title">
  <p:cSld name="CUSTOM_2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0"/>
          <p:cNvSpPr>
            <a:spLocks noGrp="1"/>
          </p:cNvSpPr>
          <p:nvPr>
            <p:ph type="pic" idx="2"/>
          </p:nvPr>
        </p:nvSpPr>
        <p:spPr>
          <a:xfrm>
            <a:off x="610214" y="1543867"/>
            <a:ext cx="10969200" cy="47853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23" name="Google Shape;123;p20"/>
          <p:cNvSpPr txBox="1">
            <a:spLocks noGrp="1"/>
          </p:cNvSpPr>
          <p:nvPr>
            <p:ph type="title"/>
          </p:nvPr>
        </p:nvSpPr>
        <p:spPr>
          <a:xfrm>
            <a:off x="628727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124" name="Google Shape;124;p20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25" name="Google Shape;125;p20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image + title">
  <p:cSld name="CUSTOM_2_3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21"/>
          <p:cNvSpPr>
            <a:spLocks noGrp="1"/>
          </p:cNvSpPr>
          <p:nvPr>
            <p:ph type="pic" idx="2"/>
          </p:nvPr>
        </p:nvSpPr>
        <p:spPr>
          <a:xfrm>
            <a:off x="609447" y="1543867"/>
            <a:ext cx="5310300" cy="47793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28" name="Google Shape;128;p21"/>
          <p:cNvSpPr>
            <a:spLocks noGrp="1"/>
          </p:cNvSpPr>
          <p:nvPr>
            <p:ph type="pic" idx="3"/>
          </p:nvPr>
        </p:nvSpPr>
        <p:spPr>
          <a:xfrm>
            <a:off x="6268423" y="1543867"/>
            <a:ext cx="5310300" cy="47793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29" name="Google Shape;129;p21"/>
          <p:cNvSpPr txBox="1">
            <a:spLocks noGrp="1"/>
          </p:cNvSpPr>
          <p:nvPr>
            <p:ph type="title"/>
          </p:nvPr>
        </p:nvSpPr>
        <p:spPr>
          <a:xfrm>
            <a:off x="628727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130" name="Google Shape;130;p21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31" name="Google Shape;131;p21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image + title 1">
  <p:cSld name="CUSTOM_2_3_1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2"/>
          <p:cNvSpPr txBox="1">
            <a:spLocks noGrp="1"/>
          </p:cNvSpPr>
          <p:nvPr>
            <p:ph type="title"/>
          </p:nvPr>
        </p:nvSpPr>
        <p:spPr>
          <a:xfrm>
            <a:off x="874181" y="3455215"/>
            <a:ext cx="31539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21875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2pPr>
            <a:lvl3pPr lvl="2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3pPr>
            <a:lvl4pPr lvl="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4pPr>
            <a:lvl5pPr lvl="4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5pPr>
            <a:lvl6pPr lvl="5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6pPr>
            <a:lvl7pPr lvl="6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7pPr>
            <a:lvl8pPr lvl="7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8pPr>
            <a:lvl9pPr lvl="8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34" name="Google Shape;134;p22"/>
          <p:cNvSpPr txBox="1">
            <a:spLocks noGrp="1"/>
          </p:cNvSpPr>
          <p:nvPr>
            <p:ph type="subTitle" idx="1"/>
          </p:nvPr>
        </p:nvSpPr>
        <p:spPr>
          <a:xfrm>
            <a:off x="805698" y="4095704"/>
            <a:ext cx="3153900" cy="52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1pPr>
            <a:lvl2pPr lvl="1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2pPr>
            <a:lvl3pPr lvl="2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3pPr>
            <a:lvl4pPr lvl="3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4pPr>
            <a:lvl5pPr lvl="4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5pPr>
            <a:lvl6pPr lvl="5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6pPr>
            <a:lvl7pPr lvl="6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7pPr>
            <a:lvl8pPr lvl="7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8pPr>
            <a:lvl9pPr lvl="8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9pPr>
          </a:lstStyle>
          <a:p>
            <a:endParaRPr/>
          </a:p>
        </p:txBody>
      </p:sp>
      <p:sp>
        <p:nvSpPr>
          <p:cNvPr id="135" name="Google Shape;135;p22"/>
          <p:cNvSpPr txBox="1">
            <a:spLocks noGrp="1"/>
          </p:cNvSpPr>
          <p:nvPr>
            <p:ph type="title" idx="2"/>
          </p:nvPr>
        </p:nvSpPr>
        <p:spPr>
          <a:xfrm>
            <a:off x="4585952" y="3455215"/>
            <a:ext cx="31539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21875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2pPr>
            <a:lvl3pPr lvl="2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3pPr>
            <a:lvl4pPr lvl="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4pPr>
            <a:lvl5pPr lvl="4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5pPr>
            <a:lvl6pPr lvl="5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6pPr>
            <a:lvl7pPr lvl="6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7pPr>
            <a:lvl8pPr lvl="7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8pPr>
            <a:lvl9pPr lvl="8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36" name="Google Shape;136;p22"/>
          <p:cNvSpPr txBox="1">
            <a:spLocks noGrp="1"/>
          </p:cNvSpPr>
          <p:nvPr>
            <p:ph type="subTitle" idx="3"/>
          </p:nvPr>
        </p:nvSpPr>
        <p:spPr>
          <a:xfrm>
            <a:off x="4517470" y="4095704"/>
            <a:ext cx="3153900" cy="52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1pPr>
            <a:lvl2pPr lvl="1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2pPr>
            <a:lvl3pPr lvl="2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3pPr>
            <a:lvl4pPr lvl="3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4pPr>
            <a:lvl5pPr lvl="4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5pPr>
            <a:lvl6pPr lvl="5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6pPr>
            <a:lvl7pPr lvl="6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7pPr>
            <a:lvl8pPr lvl="7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8pPr>
            <a:lvl9pPr lvl="8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9pPr>
          </a:lstStyle>
          <a:p>
            <a:endParaRPr/>
          </a:p>
        </p:txBody>
      </p:sp>
      <p:sp>
        <p:nvSpPr>
          <p:cNvPr id="137" name="Google Shape;137;p22"/>
          <p:cNvSpPr txBox="1">
            <a:spLocks noGrp="1"/>
          </p:cNvSpPr>
          <p:nvPr>
            <p:ph type="title" idx="4"/>
          </p:nvPr>
        </p:nvSpPr>
        <p:spPr>
          <a:xfrm>
            <a:off x="8297724" y="3455215"/>
            <a:ext cx="31539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21875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2pPr>
            <a:lvl3pPr lvl="2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3pPr>
            <a:lvl4pPr lvl="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4pPr>
            <a:lvl5pPr lvl="4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5pPr>
            <a:lvl6pPr lvl="5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6pPr>
            <a:lvl7pPr lvl="6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7pPr>
            <a:lvl8pPr lvl="7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8pPr>
            <a:lvl9pPr lvl="8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38" name="Google Shape;138;p22"/>
          <p:cNvSpPr txBox="1">
            <a:spLocks noGrp="1"/>
          </p:cNvSpPr>
          <p:nvPr>
            <p:ph type="subTitle" idx="5"/>
          </p:nvPr>
        </p:nvSpPr>
        <p:spPr>
          <a:xfrm>
            <a:off x="8229241" y="4095704"/>
            <a:ext cx="3153900" cy="52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1pPr>
            <a:lvl2pPr lvl="1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2pPr>
            <a:lvl3pPr lvl="2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3pPr>
            <a:lvl4pPr lvl="3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4pPr>
            <a:lvl5pPr lvl="4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5pPr>
            <a:lvl6pPr lvl="5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6pPr>
            <a:lvl7pPr lvl="6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7pPr>
            <a:lvl8pPr lvl="7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8pPr>
            <a:lvl9pPr lvl="8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rgbClr val="666666"/>
              </a:buClr>
              <a:buSzPts val="1300"/>
              <a:buNone/>
              <a:defRPr sz="1300">
                <a:solidFill>
                  <a:srgbClr val="666666"/>
                </a:solidFill>
              </a:defRPr>
            </a:lvl9pPr>
          </a:lstStyle>
          <a:p>
            <a:endParaRPr/>
          </a:p>
        </p:txBody>
      </p:sp>
      <p:sp>
        <p:nvSpPr>
          <p:cNvPr id="139" name="Google Shape;139;p22"/>
          <p:cNvSpPr txBox="1">
            <a:spLocks noGrp="1"/>
          </p:cNvSpPr>
          <p:nvPr>
            <p:ph type="title" idx="6"/>
          </p:nvPr>
        </p:nvSpPr>
        <p:spPr>
          <a:xfrm>
            <a:off x="343014" y="1909429"/>
            <a:ext cx="4079400" cy="14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b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4500"/>
            </a:lvl1pPr>
            <a:lvl2pPr lvl="1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2pPr>
            <a:lvl3pPr lvl="2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3pPr>
            <a:lvl4pPr lvl="3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4pPr>
            <a:lvl5pPr lvl="4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5pPr>
            <a:lvl6pPr lvl="5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6pPr>
            <a:lvl7pPr lvl="6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7pPr>
            <a:lvl8pPr lvl="7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8pPr>
            <a:lvl9pPr lvl="8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9pPr>
          </a:lstStyle>
          <a:p>
            <a:endParaRPr/>
          </a:p>
        </p:txBody>
      </p:sp>
      <p:sp>
        <p:nvSpPr>
          <p:cNvPr id="140" name="Google Shape;140;p22"/>
          <p:cNvSpPr txBox="1">
            <a:spLocks noGrp="1"/>
          </p:cNvSpPr>
          <p:nvPr>
            <p:ph type="title" idx="7"/>
          </p:nvPr>
        </p:nvSpPr>
        <p:spPr>
          <a:xfrm>
            <a:off x="4054785" y="1909429"/>
            <a:ext cx="4079400" cy="14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b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4500"/>
            </a:lvl1pPr>
            <a:lvl2pPr lvl="1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2pPr>
            <a:lvl3pPr lvl="2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3pPr>
            <a:lvl4pPr lvl="3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4pPr>
            <a:lvl5pPr lvl="4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5pPr>
            <a:lvl6pPr lvl="5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6pPr>
            <a:lvl7pPr lvl="6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7pPr>
            <a:lvl8pPr lvl="7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8pPr>
            <a:lvl9pPr lvl="8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9pPr>
          </a:lstStyle>
          <a:p>
            <a:endParaRPr/>
          </a:p>
        </p:txBody>
      </p:sp>
      <p:sp>
        <p:nvSpPr>
          <p:cNvPr id="141" name="Google Shape;141;p22"/>
          <p:cNvSpPr txBox="1">
            <a:spLocks noGrp="1"/>
          </p:cNvSpPr>
          <p:nvPr>
            <p:ph type="title" idx="8"/>
          </p:nvPr>
        </p:nvSpPr>
        <p:spPr>
          <a:xfrm>
            <a:off x="7766557" y="1909429"/>
            <a:ext cx="4079400" cy="14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b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4500"/>
            </a:lvl1pPr>
            <a:lvl2pPr lvl="1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2pPr>
            <a:lvl3pPr lvl="2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3pPr>
            <a:lvl4pPr lvl="3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4pPr>
            <a:lvl5pPr lvl="4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5pPr>
            <a:lvl6pPr lvl="5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6pPr>
            <a:lvl7pPr lvl="6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7pPr>
            <a:lvl8pPr lvl="7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8pPr>
            <a:lvl9pPr lvl="8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9pPr>
          </a:lstStyle>
          <a:p>
            <a:endParaRPr/>
          </a:p>
        </p:txBody>
      </p:sp>
      <p:sp>
        <p:nvSpPr>
          <p:cNvPr id="142" name="Google Shape;142;p22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43" name="Google Shape;143;p22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eatured 1">
  <p:cSld name="SECTION_TITLE_AND_DESCRIPTION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24"/>
          <p:cNvSpPr/>
          <p:nvPr/>
        </p:nvSpPr>
        <p:spPr>
          <a:xfrm>
            <a:off x="4610913" y="-90433"/>
            <a:ext cx="7730400" cy="70548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" name="Google Shape;150;p24"/>
          <p:cNvSpPr txBox="1">
            <a:spLocks noGrp="1"/>
          </p:cNvSpPr>
          <p:nvPr>
            <p:ph type="title"/>
          </p:nvPr>
        </p:nvSpPr>
        <p:spPr>
          <a:xfrm>
            <a:off x="609447" y="2581800"/>
            <a:ext cx="3726600" cy="1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151" name="Google Shape;151;p24"/>
          <p:cNvSpPr txBox="1">
            <a:spLocks noGrp="1"/>
          </p:cNvSpPr>
          <p:nvPr>
            <p:ph type="subTitle" idx="1"/>
          </p:nvPr>
        </p:nvSpPr>
        <p:spPr>
          <a:xfrm>
            <a:off x="609447" y="3779400"/>
            <a:ext cx="4361400" cy="4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dk2"/>
              </a:buClr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52" name="Google Shape;152;p24"/>
          <p:cNvSpPr txBox="1">
            <a:spLocks noGrp="1"/>
          </p:cNvSpPr>
          <p:nvPr>
            <p:ph type="body" idx="2"/>
          </p:nvPr>
        </p:nvSpPr>
        <p:spPr>
          <a:xfrm>
            <a:off x="4970756" y="609600"/>
            <a:ext cx="6658200" cy="584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302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Char char="●"/>
              <a:defRPr sz="1600">
                <a:solidFill>
                  <a:schemeClr val="lt1"/>
                </a:solidFill>
              </a:defRPr>
            </a:lvl1pPr>
            <a:lvl2pPr marL="914400" lvl="1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○"/>
              <a:defRPr sz="1600">
                <a:solidFill>
                  <a:schemeClr val="lt1"/>
                </a:solidFill>
              </a:defRPr>
            </a:lvl2pPr>
            <a:lvl3pPr marL="1371600" lvl="2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■"/>
              <a:defRPr sz="1600">
                <a:solidFill>
                  <a:schemeClr val="lt1"/>
                </a:solidFill>
              </a:defRPr>
            </a:lvl3pPr>
            <a:lvl4pPr marL="1828800" lvl="3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●"/>
              <a:defRPr sz="1600">
                <a:solidFill>
                  <a:schemeClr val="lt1"/>
                </a:solidFill>
              </a:defRPr>
            </a:lvl4pPr>
            <a:lvl5pPr marL="2286000" lvl="4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○"/>
              <a:defRPr sz="1600">
                <a:solidFill>
                  <a:schemeClr val="lt1"/>
                </a:solidFill>
              </a:defRPr>
            </a:lvl5pPr>
            <a:lvl6pPr marL="2743200" lvl="5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■"/>
              <a:defRPr sz="1600">
                <a:solidFill>
                  <a:schemeClr val="lt1"/>
                </a:solidFill>
              </a:defRPr>
            </a:lvl6pPr>
            <a:lvl7pPr marL="3200400" lvl="6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●"/>
              <a:defRPr sz="1600">
                <a:solidFill>
                  <a:schemeClr val="lt1"/>
                </a:solidFill>
              </a:defRPr>
            </a:lvl7pPr>
            <a:lvl8pPr marL="3657600" lvl="7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600"/>
              <a:buChar char="○"/>
              <a:defRPr sz="1600">
                <a:solidFill>
                  <a:schemeClr val="lt1"/>
                </a:solidFill>
              </a:defRPr>
            </a:lvl8pPr>
            <a:lvl9pPr marL="4114800" lvl="8" indent="-33020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lt1"/>
              </a:buClr>
              <a:buSzPts val="1600"/>
              <a:buChar char="■"/>
              <a:defRPr sz="1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53" name="Google Shape;153;p24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54" name="Google Shape;154;p24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</a:t>
            </a:r>
            <a:endParaRPr sz="15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455">
          <p15:clr>
            <a:srgbClr val="FA7B17"/>
          </p15:clr>
        </p15:guide>
        <p15:guide id="2" pos="4223">
          <p15:clr>
            <a:srgbClr val="FA7B17"/>
          </p15:clr>
        </p15:guide>
        <p15:guide id="3" orient="horz" pos="3840">
          <p15:clr>
            <a:srgbClr val="FA7B17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eatured 1b">
  <p:cSld name="SECTION_TITLE_AND_DESCRIPTION_2"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Google Shape;156;p25"/>
          <p:cNvSpPr/>
          <p:nvPr/>
        </p:nvSpPr>
        <p:spPr>
          <a:xfrm>
            <a:off x="8532265" y="-98400"/>
            <a:ext cx="3656700" cy="70548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7" name="Google Shape;157;p25"/>
          <p:cNvSpPr txBox="1">
            <a:spLocks noGrp="1"/>
          </p:cNvSpPr>
          <p:nvPr>
            <p:ph type="body" idx="1"/>
          </p:nvPr>
        </p:nvSpPr>
        <p:spPr>
          <a:xfrm>
            <a:off x="8822625" y="621100"/>
            <a:ext cx="3078900" cy="58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>
                <a:solidFill>
                  <a:schemeClr val="lt1"/>
                </a:solidFill>
              </a:defRPr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lt1"/>
              </a:buClr>
              <a:buSzPts val="13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58" name="Google Shape;158;p25"/>
          <p:cNvSpPr txBox="1">
            <a:spLocks noGrp="1"/>
          </p:cNvSpPr>
          <p:nvPr>
            <p:ph type="title"/>
          </p:nvPr>
        </p:nvSpPr>
        <p:spPr>
          <a:xfrm>
            <a:off x="623348" y="609600"/>
            <a:ext cx="79089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59" name="Google Shape;159;p25"/>
          <p:cNvSpPr txBox="1">
            <a:spLocks noGrp="1"/>
          </p:cNvSpPr>
          <p:nvPr>
            <p:ph type="subTitle" idx="2"/>
          </p:nvPr>
        </p:nvSpPr>
        <p:spPr>
          <a:xfrm>
            <a:off x="609447" y="1219200"/>
            <a:ext cx="79089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160" name="Google Shape;160;p25"/>
          <p:cNvSpPr txBox="1">
            <a:spLocks noGrp="1"/>
          </p:cNvSpPr>
          <p:nvPr>
            <p:ph type="body" idx="3"/>
          </p:nvPr>
        </p:nvSpPr>
        <p:spPr>
          <a:xfrm>
            <a:off x="609447" y="1758000"/>
            <a:ext cx="7908900" cy="4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161" name="Google Shape;161;p25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62" name="Google Shape;162;p25"/>
          <p:cNvSpPr/>
          <p:nvPr/>
        </p:nvSpPr>
        <p:spPr>
          <a:xfrm>
            <a:off x="623345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455">
          <p15:clr>
            <a:srgbClr val="FA7B17"/>
          </p15:clr>
        </p15:guide>
        <p15:guide id="2" pos="4223">
          <p15:clr>
            <a:srgbClr val="FA7B17"/>
          </p15:clr>
        </p15:guide>
        <p15:guide id="3" orient="horz" pos="3936">
          <p15:clr>
            <a:srgbClr val="FA7B17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eatured 2">
  <p:cSld name="SECTION_TITLE_AND_DESCRIPTION_3"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26"/>
          <p:cNvSpPr/>
          <p:nvPr/>
        </p:nvSpPr>
        <p:spPr>
          <a:xfrm>
            <a:off x="0" y="-167"/>
            <a:ext cx="62508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" name="Google Shape;165;p26"/>
          <p:cNvSpPr txBox="1">
            <a:spLocks noGrp="1"/>
          </p:cNvSpPr>
          <p:nvPr>
            <p:ph type="body" idx="1"/>
          </p:nvPr>
        </p:nvSpPr>
        <p:spPr>
          <a:xfrm>
            <a:off x="6699924" y="609600"/>
            <a:ext cx="4875600" cy="584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302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●"/>
              <a:defRPr sz="1600">
                <a:solidFill>
                  <a:schemeClr val="dk2"/>
                </a:solidFill>
              </a:defRPr>
            </a:lvl1pPr>
            <a:lvl2pPr marL="914400" lvl="1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○"/>
              <a:defRPr sz="1600">
                <a:solidFill>
                  <a:schemeClr val="dk2"/>
                </a:solidFill>
              </a:defRPr>
            </a:lvl2pPr>
            <a:lvl3pPr marL="1371600" lvl="2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■"/>
              <a:defRPr sz="1600">
                <a:solidFill>
                  <a:schemeClr val="dk2"/>
                </a:solidFill>
              </a:defRPr>
            </a:lvl3pPr>
            <a:lvl4pPr marL="1828800" lvl="3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●"/>
              <a:defRPr sz="1600">
                <a:solidFill>
                  <a:schemeClr val="dk2"/>
                </a:solidFill>
              </a:defRPr>
            </a:lvl4pPr>
            <a:lvl5pPr marL="2286000" lvl="4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○"/>
              <a:defRPr sz="1600">
                <a:solidFill>
                  <a:schemeClr val="dk2"/>
                </a:solidFill>
              </a:defRPr>
            </a:lvl5pPr>
            <a:lvl6pPr marL="2743200" lvl="5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600"/>
              <a:buChar char="■"/>
              <a:defRPr sz="1600">
                <a:solidFill>
                  <a:schemeClr val="dk2"/>
                </a:solidFill>
              </a:defRPr>
            </a:lvl6pPr>
            <a:lvl7pPr marL="3200400" lvl="6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600"/>
              <a:buChar char="●"/>
              <a:defRPr sz="1600">
                <a:solidFill>
                  <a:schemeClr val="dk2"/>
                </a:solidFill>
              </a:defRPr>
            </a:lvl7pPr>
            <a:lvl8pPr marL="3657600" lvl="7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600"/>
              <a:buChar char="○"/>
              <a:defRPr sz="1600">
                <a:solidFill>
                  <a:schemeClr val="dk2"/>
                </a:solidFill>
              </a:defRPr>
            </a:lvl8pPr>
            <a:lvl9pPr marL="4114800" lvl="8" indent="-33020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600"/>
              <a:buChar char="■"/>
              <a:defRPr sz="1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66" name="Google Shape;166;p26"/>
          <p:cNvSpPr txBox="1">
            <a:spLocks noGrp="1"/>
          </p:cNvSpPr>
          <p:nvPr>
            <p:ph type="title"/>
          </p:nvPr>
        </p:nvSpPr>
        <p:spPr>
          <a:xfrm>
            <a:off x="609447" y="2581800"/>
            <a:ext cx="3726600" cy="1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67" name="Google Shape;167;p26"/>
          <p:cNvSpPr txBox="1">
            <a:spLocks noGrp="1"/>
          </p:cNvSpPr>
          <p:nvPr>
            <p:ph type="subTitle" idx="2"/>
          </p:nvPr>
        </p:nvSpPr>
        <p:spPr>
          <a:xfrm>
            <a:off x="609447" y="3779400"/>
            <a:ext cx="4361400" cy="4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900">
                <a:solidFill>
                  <a:schemeClr val="lt1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68" name="Google Shape;168;p26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69" name="Google Shape;169;p26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455">
          <p15:clr>
            <a:srgbClr val="FA7B17"/>
          </p15:clr>
        </p15:guide>
        <p15:guide id="2" pos="4223">
          <p15:clr>
            <a:srgbClr val="FA7B17"/>
          </p15:clr>
        </p15:guide>
        <p15:guide id="3" orient="horz" pos="3840">
          <p15:clr>
            <a:srgbClr val="FA7B17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ppendix">
  <p:cSld name="CUSTOM_4 2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7"/>
          <p:cNvSpPr txBox="1">
            <a:spLocks noGrp="1"/>
          </p:cNvSpPr>
          <p:nvPr>
            <p:ph type="title"/>
          </p:nvPr>
        </p:nvSpPr>
        <p:spPr>
          <a:xfrm>
            <a:off x="118842" y="-12168"/>
            <a:ext cx="36567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  <a:effectLst>
            <a:outerShdw blurRad="271463" dist="19050" dir="5400000" algn="bl" rotWithShape="0">
              <a:srgbClr val="000000">
                <a:alpha val="8627"/>
              </a:srgbClr>
            </a:outerShdw>
          </a:effectLst>
        </p:spPr>
        <p:txBody>
          <a:bodyPr spcFirstLastPara="1" wrap="square" lIns="457125" tIns="91425" rIns="4571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1"/>
          </p:nvPr>
        </p:nvSpPr>
        <p:spPr>
          <a:xfrm>
            <a:off x="3871998" y="852233"/>
            <a:ext cx="7707300" cy="539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3800" tIns="121875" rIns="121875" bIns="121875" anchor="ctr" anchorCtr="0">
            <a:noAutofit/>
          </a:bodyPr>
          <a:lstStyle>
            <a:lvl1pPr marL="457200" lvl="0" indent="-3302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600"/>
            </a:lvl1pPr>
            <a:lvl2pPr marL="914400" lvl="1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  <a:defRPr sz="1600"/>
            </a:lvl2pPr>
            <a:lvl3pPr marL="1371600" lvl="2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■"/>
              <a:defRPr sz="1600"/>
            </a:lvl3pPr>
            <a:lvl4pPr marL="1828800" lvl="3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●"/>
              <a:defRPr sz="1600"/>
            </a:lvl4pPr>
            <a:lvl5pPr marL="2286000" lvl="4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  <a:defRPr sz="1600"/>
            </a:lvl5pPr>
            <a:lvl6pPr marL="2743200" lvl="5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■"/>
              <a:defRPr sz="1600"/>
            </a:lvl6pPr>
            <a:lvl7pPr marL="3200400" lvl="6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600"/>
              <a:buChar char="■"/>
              <a:defRPr sz="1600"/>
            </a:lvl9pPr>
          </a:lstStyle>
          <a:p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43" name="Google Shape;43;p7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7">
          <p15:clr>
            <a:srgbClr val="FA7B17"/>
          </p15:clr>
        </p15:guide>
        <p15:guide id="2" orient="horz" pos="3936">
          <p15:clr>
            <a:srgbClr val="FA7B17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27"/>
          <p:cNvSpPr txBox="1">
            <a:spLocks noGrp="1"/>
          </p:cNvSpPr>
          <p:nvPr>
            <p:ph type="body" idx="1"/>
          </p:nvPr>
        </p:nvSpPr>
        <p:spPr>
          <a:xfrm>
            <a:off x="8532265" y="3657700"/>
            <a:ext cx="3047100" cy="28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2pPr>
            <a:lvl3pPr marL="1371600" lvl="2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3pPr>
            <a:lvl4pPr marL="1828800" lvl="3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4pPr>
            <a:lvl5pPr marL="2286000" lvl="4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5pPr>
            <a:lvl6pPr marL="2743200" lvl="5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6pPr>
            <a:lvl7pPr marL="3200400" lvl="6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7pPr>
            <a:lvl8pPr marL="3657600" lvl="7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8pPr>
            <a:lvl9pPr marL="4114800" lvl="8" indent="-311150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/>
            </a:lvl9pPr>
          </a:lstStyle>
          <a:p>
            <a:endParaRPr/>
          </a:p>
        </p:txBody>
      </p:sp>
      <p:sp>
        <p:nvSpPr>
          <p:cNvPr id="172" name="Google Shape;172;p27"/>
          <p:cNvSpPr txBox="1">
            <a:spLocks noGrp="1"/>
          </p:cNvSpPr>
          <p:nvPr>
            <p:ph type="body" idx="2"/>
          </p:nvPr>
        </p:nvSpPr>
        <p:spPr>
          <a:xfrm>
            <a:off x="609447" y="3657700"/>
            <a:ext cx="3047100" cy="28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2pPr>
            <a:lvl3pPr marL="1371600" lvl="2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3pPr>
            <a:lvl4pPr marL="1828800" lvl="3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4pPr>
            <a:lvl5pPr marL="2286000" lvl="4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5pPr>
            <a:lvl6pPr marL="2743200" lvl="5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6pPr>
            <a:lvl7pPr marL="3200400" lvl="6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7pPr>
            <a:lvl8pPr marL="3657600" lvl="7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8pPr>
            <a:lvl9pPr marL="4114800" lvl="8" indent="-311150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/>
            </a:lvl9pPr>
          </a:lstStyle>
          <a:p>
            <a:endParaRPr/>
          </a:p>
        </p:txBody>
      </p:sp>
      <p:sp>
        <p:nvSpPr>
          <p:cNvPr id="173" name="Google Shape;173;p27"/>
          <p:cNvSpPr txBox="1">
            <a:spLocks noGrp="1"/>
          </p:cNvSpPr>
          <p:nvPr>
            <p:ph type="body" idx="3"/>
          </p:nvPr>
        </p:nvSpPr>
        <p:spPr>
          <a:xfrm>
            <a:off x="4562625" y="3657700"/>
            <a:ext cx="3047100" cy="28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2pPr>
            <a:lvl3pPr marL="1371600" lvl="2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3pPr>
            <a:lvl4pPr marL="1828800" lvl="3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4pPr>
            <a:lvl5pPr marL="2286000" lvl="4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5pPr>
            <a:lvl6pPr marL="2743200" lvl="5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/>
            </a:lvl6pPr>
            <a:lvl7pPr marL="3200400" lvl="6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/>
            </a:lvl7pPr>
            <a:lvl8pPr marL="3657600" lvl="7" indent="-311150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/>
            </a:lvl8pPr>
            <a:lvl9pPr marL="4114800" lvl="8" indent="-311150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/>
            </a:lvl9pPr>
          </a:lstStyle>
          <a:p>
            <a:endParaRPr/>
          </a:p>
        </p:txBody>
      </p:sp>
      <p:sp>
        <p:nvSpPr>
          <p:cNvPr id="174" name="Google Shape;174;p27"/>
          <p:cNvSpPr txBox="1">
            <a:spLocks noGrp="1"/>
          </p:cNvSpPr>
          <p:nvPr>
            <p:ph type="title"/>
          </p:nvPr>
        </p:nvSpPr>
        <p:spPr>
          <a:xfrm>
            <a:off x="609447" y="609600"/>
            <a:ext cx="10969200" cy="66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75" name="Google Shape;175;p27"/>
          <p:cNvSpPr>
            <a:spLocks noGrp="1"/>
          </p:cNvSpPr>
          <p:nvPr>
            <p:ph type="pic" idx="4"/>
          </p:nvPr>
        </p:nvSpPr>
        <p:spPr>
          <a:xfrm>
            <a:off x="1014546" y="1842600"/>
            <a:ext cx="2237100" cy="1586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76" name="Google Shape;176;p27"/>
          <p:cNvSpPr>
            <a:spLocks noGrp="1"/>
          </p:cNvSpPr>
          <p:nvPr>
            <p:ph type="pic" idx="5"/>
          </p:nvPr>
        </p:nvSpPr>
        <p:spPr>
          <a:xfrm>
            <a:off x="4975955" y="1842600"/>
            <a:ext cx="2237100" cy="1586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77" name="Google Shape;177;p27"/>
          <p:cNvSpPr>
            <a:spLocks noGrp="1"/>
          </p:cNvSpPr>
          <p:nvPr>
            <p:ph type="pic" idx="6"/>
          </p:nvPr>
        </p:nvSpPr>
        <p:spPr>
          <a:xfrm>
            <a:off x="8937364" y="1842600"/>
            <a:ext cx="2237100" cy="1586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78" name="Google Shape;178;p27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79" name="Google Shape;179;p27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6">
          <p15:clr>
            <a:srgbClr val="FA7B17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er-profile 1">
  <p:cSld name="customer-profile 2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28"/>
          <p:cNvSpPr txBox="1">
            <a:spLocks noGrp="1"/>
          </p:cNvSpPr>
          <p:nvPr>
            <p:ph type="body" idx="1"/>
          </p:nvPr>
        </p:nvSpPr>
        <p:spPr>
          <a:xfrm>
            <a:off x="646905" y="1992500"/>
            <a:ext cx="3588000" cy="403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243800" bIns="24380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182" name="Google Shape;182;p28"/>
          <p:cNvSpPr txBox="1">
            <a:spLocks noGrp="1"/>
          </p:cNvSpPr>
          <p:nvPr>
            <p:ph type="body" idx="2"/>
          </p:nvPr>
        </p:nvSpPr>
        <p:spPr>
          <a:xfrm>
            <a:off x="4290726" y="1992500"/>
            <a:ext cx="3588000" cy="403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243800" bIns="24380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183" name="Google Shape;183;p28"/>
          <p:cNvSpPr txBox="1">
            <a:spLocks noGrp="1"/>
          </p:cNvSpPr>
          <p:nvPr>
            <p:ph type="body" idx="3"/>
          </p:nvPr>
        </p:nvSpPr>
        <p:spPr>
          <a:xfrm>
            <a:off x="7934548" y="1992500"/>
            <a:ext cx="3588000" cy="403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243800" bIns="121875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graphicFrame>
        <p:nvGraphicFramePr>
          <p:cNvPr id="184" name="Google Shape;184;p28"/>
          <p:cNvGraphicFramePr/>
          <p:nvPr/>
        </p:nvGraphicFramePr>
        <p:xfrm>
          <a:off x="605759" y="1548384"/>
          <a:ext cx="10957875" cy="4476500"/>
        </p:xfrm>
        <a:graphic>
          <a:graphicData uri="http://schemas.openxmlformats.org/drawingml/2006/table">
            <a:tbl>
              <a:tblPr>
                <a:noFill/>
                <a:tableStyleId>{82AFA2FD-57D1-44EB-98A6-322B1BEE68D2}</a:tableStyleId>
              </a:tblPr>
              <a:tblGrid>
                <a:gridCol w="3652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526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52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4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300"/>
                        <a:buFont typeface="Arial"/>
                        <a:buNone/>
                      </a:pPr>
                      <a:r>
                        <a:rPr lang="en-US" sz="1300" b="1" u="none" strike="noStrike" cap="none" dirty="0"/>
                        <a:t>Challenges</a:t>
                      </a:r>
                      <a:endParaRPr sz="1300" u="none" strike="noStrike" cap="none" dirty="0"/>
                    </a:p>
                  </a:txBody>
                  <a:tcPr marL="121900" marR="121900" marT="60975" marB="609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1381D7">
                        <a:alpha val="470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300"/>
                        <a:buFont typeface="Arial"/>
                        <a:buNone/>
                      </a:pPr>
                      <a:r>
                        <a:rPr lang="en-US" sz="1300" b="1" u="none" strike="noStrike" cap="none" dirty="0">
                          <a:solidFill>
                            <a:schemeClr val="lt1"/>
                          </a:solidFill>
                        </a:rPr>
                        <a:t>Solution</a:t>
                      </a:r>
                      <a:endParaRPr sz="1500" u="none" strike="noStrike" cap="none" dirty="0">
                        <a:solidFill>
                          <a:schemeClr val="lt1"/>
                        </a:solidFill>
                      </a:endParaRPr>
                    </a:p>
                  </a:txBody>
                  <a:tcPr marL="121900" marR="121900" marT="60975" marB="60975" anchor="ctr">
                    <a:lnL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300"/>
                        <a:buFont typeface="Arial"/>
                        <a:buNone/>
                      </a:pPr>
                      <a:r>
                        <a:rPr lang="en-US" sz="1300" b="1" u="none" strike="noStrike" cap="none" dirty="0">
                          <a:solidFill>
                            <a:schemeClr val="lt1"/>
                          </a:solidFill>
                        </a:rPr>
                        <a:t>Benefit</a:t>
                      </a:r>
                      <a:endParaRPr sz="1500" u="none" strike="noStrike" cap="none" dirty="0">
                        <a:solidFill>
                          <a:schemeClr val="lt1"/>
                        </a:solidFill>
                      </a:endParaRPr>
                    </a:p>
                  </a:txBody>
                  <a:tcPr marL="121900" marR="121900" marT="60975" marB="60975" anchor="ctr">
                    <a:lnL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324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Arial"/>
                        <a:buNone/>
                      </a:pPr>
                      <a:endParaRPr sz="130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182875" marB="1828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Arial"/>
                        <a:buNone/>
                      </a:pPr>
                      <a:endParaRPr sz="130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182875" marB="182875">
                    <a:lnL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Arial"/>
                        <a:buNone/>
                      </a:pPr>
                      <a:endParaRPr sz="130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182875" marB="182875">
                    <a:lnL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86" name="Google Shape;186;p28"/>
          <p:cNvSpPr txBox="1">
            <a:spLocks noGrp="1"/>
          </p:cNvSpPr>
          <p:nvPr>
            <p:ph type="title"/>
          </p:nvPr>
        </p:nvSpPr>
        <p:spPr>
          <a:xfrm>
            <a:off x="611214" y="591433"/>
            <a:ext cx="8682900" cy="66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 sz="27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87" name="Google Shape;187;p28"/>
          <p:cNvSpPr>
            <a:spLocks noGrp="1"/>
          </p:cNvSpPr>
          <p:nvPr>
            <p:ph type="pic" idx="4"/>
          </p:nvPr>
        </p:nvSpPr>
        <p:spPr>
          <a:xfrm>
            <a:off x="9874429" y="374567"/>
            <a:ext cx="1441200" cy="1441200"/>
          </a:xfrm>
          <a:prstGeom prst="rect">
            <a:avLst/>
          </a:prstGeom>
          <a:noFill/>
          <a:ln>
            <a:noFill/>
          </a:ln>
          <a:effectLst>
            <a:outerShdw blurRad="254000" dist="38100" dir="5400000" algn="t" rotWithShape="0">
              <a:srgbClr val="000000">
                <a:alpha val="8627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88" name="Google Shape;188;p28"/>
          <p:cNvSpPr txBox="1">
            <a:spLocks noGrp="1"/>
          </p:cNvSpPr>
          <p:nvPr>
            <p:ph type="subTitle" idx="5"/>
          </p:nvPr>
        </p:nvSpPr>
        <p:spPr>
          <a:xfrm>
            <a:off x="4267265" y="6027900"/>
            <a:ext cx="7296300" cy="5787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89" name="Google Shape;189;p28"/>
          <p:cNvSpPr/>
          <p:nvPr/>
        </p:nvSpPr>
        <p:spPr>
          <a:xfrm>
            <a:off x="37560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C73D5FC5-3B00-EE04-FE17-3FBB9859CF6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er-profile 1 1">
  <p:cSld name="customer-profile 2_1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29"/>
          <p:cNvSpPr/>
          <p:nvPr/>
        </p:nvSpPr>
        <p:spPr>
          <a:xfrm>
            <a:off x="0" y="-34067"/>
            <a:ext cx="3813300" cy="69816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92" name="Google Shape;192;p29"/>
          <p:cNvGraphicFramePr/>
          <p:nvPr/>
        </p:nvGraphicFramePr>
        <p:xfrm>
          <a:off x="4191284" y="386451"/>
          <a:ext cx="5427000" cy="446275"/>
        </p:xfrm>
        <a:graphic>
          <a:graphicData uri="http://schemas.openxmlformats.org/drawingml/2006/table">
            <a:tbl>
              <a:tblPr>
                <a:noFill/>
                <a:tableStyleId>{82AFA2FD-57D1-44EB-98A6-322B1BEE68D2}</a:tableStyleId>
              </a:tblPr>
              <a:tblGrid>
                <a:gridCol w="5427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462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300"/>
                        <a:buFont typeface="Arial"/>
                        <a:buNone/>
                      </a:pPr>
                      <a:r>
                        <a:rPr lang="en-US" sz="1900" u="none" strike="noStrike" cap="none" dirty="0"/>
                        <a:t>Challenges</a:t>
                      </a:r>
                      <a:endParaRPr sz="1900" u="none" strike="noStrike" cap="none" dirty="0"/>
                    </a:p>
                  </a:txBody>
                  <a:tcPr marL="0" marR="1218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6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93" name="Google Shape;193;p29"/>
          <p:cNvSpPr txBox="1">
            <a:spLocks noGrp="1"/>
          </p:cNvSpPr>
          <p:nvPr>
            <p:ph type="sldNum" idx="12"/>
          </p:nvPr>
        </p:nvSpPr>
        <p:spPr>
          <a:xfrm>
            <a:off x="11503322" y="6356351"/>
            <a:ext cx="2883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sz="700" dirty="0"/>
          </a:p>
        </p:txBody>
      </p:sp>
      <p:sp>
        <p:nvSpPr>
          <p:cNvPr id="194" name="Google Shape;194;p29"/>
          <p:cNvSpPr>
            <a:spLocks noGrp="1"/>
          </p:cNvSpPr>
          <p:nvPr>
            <p:ph type="pic" idx="2"/>
          </p:nvPr>
        </p:nvSpPr>
        <p:spPr>
          <a:xfrm>
            <a:off x="395601" y="386467"/>
            <a:ext cx="909900" cy="909900"/>
          </a:xfrm>
          <a:prstGeom prst="rect">
            <a:avLst/>
          </a:prstGeom>
          <a:noFill/>
          <a:ln>
            <a:noFill/>
          </a:ln>
          <a:effectLst>
            <a:outerShdw blurRad="254000" dist="38100" dir="5400000" algn="t" rotWithShape="0">
              <a:srgbClr val="000000">
                <a:alpha val="8627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graphicFrame>
        <p:nvGraphicFramePr>
          <p:cNvPr id="195" name="Google Shape;195;p29"/>
          <p:cNvGraphicFramePr/>
          <p:nvPr/>
        </p:nvGraphicFramePr>
        <p:xfrm>
          <a:off x="4191284" y="3218251"/>
          <a:ext cx="7804900" cy="3241000"/>
        </p:xfrm>
        <a:graphic>
          <a:graphicData uri="http://schemas.openxmlformats.org/drawingml/2006/table">
            <a:tbl>
              <a:tblPr>
                <a:noFill/>
                <a:tableStyleId>{82AFA2FD-57D1-44EB-98A6-322B1BEE68D2}</a:tableStyleId>
              </a:tblPr>
              <a:tblGrid>
                <a:gridCol w="390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0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77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300"/>
                        <a:buFont typeface="Arial"/>
                        <a:buNone/>
                      </a:pPr>
                      <a:r>
                        <a:rPr lang="en-US" sz="1300" b="1" u="none" strike="noStrike" cap="none" dirty="0">
                          <a:solidFill>
                            <a:schemeClr val="lt1"/>
                          </a:solidFill>
                        </a:rPr>
                        <a:t>Solution</a:t>
                      </a:r>
                      <a:endParaRPr sz="1500" u="none" strike="noStrike" cap="none" dirty="0">
                        <a:solidFill>
                          <a:schemeClr val="lt1"/>
                        </a:solidFill>
                      </a:endParaRPr>
                    </a:p>
                  </a:txBody>
                  <a:tcPr marL="121900" marR="121900" marT="60975" marB="60975" anchor="ctr">
                    <a:lnL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300"/>
                        <a:buFont typeface="Arial"/>
                        <a:buNone/>
                      </a:pPr>
                      <a:r>
                        <a:rPr lang="en-US" sz="1300" b="1" u="none" strike="noStrike" cap="none" dirty="0">
                          <a:solidFill>
                            <a:schemeClr val="lt1"/>
                          </a:solidFill>
                        </a:rPr>
                        <a:t>Benefit</a:t>
                      </a:r>
                      <a:endParaRPr sz="1500" u="none" strike="noStrike" cap="none" dirty="0">
                        <a:solidFill>
                          <a:schemeClr val="lt1"/>
                        </a:solidFill>
                      </a:endParaRPr>
                    </a:p>
                  </a:txBody>
                  <a:tcPr marL="121900" marR="121900" marT="60975" marB="60975" anchor="ctr">
                    <a:lnL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32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Arial"/>
                        <a:buNone/>
                      </a:pPr>
                      <a:endParaRPr sz="130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182875" marB="182875">
                    <a:lnL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Arial"/>
                        <a:buNone/>
                      </a:pPr>
                      <a:endParaRPr sz="130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182875" marB="182875">
                    <a:lnL w="12700" cap="flat" cmpd="sng">
                      <a:solidFill>
                        <a:srgbClr val="00D9F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D9F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96" name="Google Shape;196;p29"/>
          <p:cNvSpPr>
            <a:spLocks noGrp="1"/>
          </p:cNvSpPr>
          <p:nvPr>
            <p:ph type="pic" idx="3"/>
          </p:nvPr>
        </p:nvSpPr>
        <p:spPr>
          <a:xfrm>
            <a:off x="395601" y="3661967"/>
            <a:ext cx="3565200" cy="2513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97" name="Google Shape;197;p29"/>
          <p:cNvSpPr txBox="1">
            <a:spLocks noGrp="1"/>
          </p:cNvSpPr>
          <p:nvPr>
            <p:ph type="title"/>
          </p:nvPr>
        </p:nvSpPr>
        <p:spPr>
          <a:xfrm>
            <a:off x="395601" y="1343233"/>
            <a:ext cx="3066000" cy="125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98" name="Google Shape;198;p29"/>
          <p:cNvSpPr txBox="1">
            <a:spLocks noGrp="1"/>
          </p:cNvSpPr>
          <p:nvPr>
            <p:ph type="subTitle" idx="1"/>
          </p:nvPr>
        </p:nvSpPr>
        <p:spPr>
          <a:xfrm>
            <a:off x="395601" y="2704900"/>
            <a:ext cx="28728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900">
                <a:solidFill>
                  <a:schemeClr val="lt1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99" name="Google Shape;199;p29"/>
          <p:cNvSpPr txBox="1">
            <a:spLocks noGrp="1"/>
          </p:cNvSpPr>
          <p:nvPr>
            <p:ph type="body" idx="4"/>
          </p:nvPr>
        </p:nvSpPr>
        <p:spPr>
          <a:xfrm>
            <a:off x="4191284" y="832733"/>
            <a:ext cx="5373900" cy="16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1875" rIns="121875" bIns="121875" anchor="t" anchorCtr="0">
            <a:sp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200" name="Google Shape;200;p29"/>
          <p:cNvSpPr txBox="1">
            <a:spLocks noGrp="1"/>
          </p:cNvSpPr>
          <p:nvPr>
            <p:ph type="body" idx="5"/>
          </p:nvPr>
        </p:nvSpPr>
        <p:spPr>
          <a:xfrm>
            <a:off x="4191284" y="3661967"/>
            <a:ext cx="3654000" cy="305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1875" rIns="121875" bIns="121875" anchor="t" anchorCtr="0">
            <a:sp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201" name="Google Shape;201;p29"/>
          <p:cNvSpPr txBox="1">
            <a:spLocks noGrp="1"/>
          </p:cNvSpPr>
          <p:nvPr>
            <p:ph type="body" idx="6"/>
          </p:nvPr>
        </p:nvSpPr>
        <p:spPr>
          <a:xfrm>
            <a:off x="8093542" y="3661967"/>
            <a:ext cx="3902700" cy="305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sp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 dirty="0"/>
          </a:p>
        </p:txBody>
      </p:sp>
      <p:sp>
        <p:nvSpPr>
          <p:cNvPr id="202" name="Google Shape;202;p29"/>
          <p:cNvSpPr txBox="1">
            <a:spLocks noGrp="1"/>
          </p:cNvSpPr>
          <p:nvPr>
            <p:ph type="body" idx="7"/>
          </p:nvPr>
        </p:nvSpPr>
        <p:spPr>
          <a:xfrm>
            <a:off x="9839671" y="386467"/>
            <a:ext cx="2156700" cy="2553600"/>
          </a:xfrm>
          <a:prstGeom prst="rect">
            <a:avLst/>
          </a:prstGeom>
          <a:gradFill>
            <a:gsLst>
              <a:gs pos="0">
                <a:srgbClr val="2B7DC2"/>
              </a:gs>
              <a:gs pos="51000">
                <a:srgbClr val="5AB2DE"/>
              </a:gs>
              <a:gs pos="100000">
                <a:srgbClr val="72CDEC"/>
              </a:gs>
            </a:gsLst>
            <a:lin ang="2700006" scaled="0"/>
          </a:gradFill>
          <a:ln>
            <a:noFill/>
          </a:ln>
        </p:spPr>
        <p:txBody>
          <a:bodyPr spcFirstLastPara="1" wrap="square" lIns="243800" tIns="243800" rIns="243800" bIns="24380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 sz="1300">
                <a:solidFill>
                  <a:schemeClr val="lt1"/>
                </a:solidFill>
              </a:defRPr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○"/>
              <a:defRPr sz="1300">
                <a:solidFill>
                  <a:schemeClr val="lt1"/>
                </a:solidFill>
              </a:defRPr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■"/>
              <a:defRPr sz="1300">
                <a:solidFill>
                  <a:schemeClr val="lt1"/>
                </a:solidFill>
              </a:defRPr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 sz="1300">
                <a:solidFill>
                  <a:schemeClr val="lt1"/>
                </a:solidFill>
              </a:defRPr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○"/>
              <a:defRPr sz="1300">
                <a:solidFill>
                  <a:schemeClr val="lt1"/>
                </a:solidFill>
              </a:defRPr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■"/>
              <a:defRPr sz="1300">
                <a:solidFill>
                  <a:schemeClr val="lt1"/>
                </a:solidFill>
              </a:defRPr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 sz="1300">
                <a:solidFill>
                  <a:schemeClr val="lt1"/>
                </a:solidFill>
              </a:defRPr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300"/>
              <a:buChar char="○"/>
              <a:defRPr sz="1300">
                <a:solidFill>
                  <a:schemeClr val="lt1"/>
                </a:solidFill>
              </a:defRPr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lt1"/>
              </a:buClr>
              <a:buSzPts val="1300"/>
              <a:buChar char="■"/>
              <a:defRPr sz="13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3" name="Google Shape;203;p29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1">
  <p:cSld name="CUSTOM_8"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30"/>
          <p:cNvSpPr txBox="1">
            <a:spLocks noGrp="1"/>
          </p:cNvSpPr>
          <p:nvPr>
            <p:ph type="title"/>
          </p:nvPr>
        </p:nvSpPr>
        <p:spPr>
          <a:xfrm>
            <a:off x="609447" y="609600"/>
            <a:ext cx="10947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206" name="Google Shape;206;p30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8BD06112-E70E-EB2A-256D-21D3F3C90E5B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, no subhead" userDrawn="1">
  <p:cSld name="Title, Content, no subhead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31"/>
          <p:cNvSpPr txBox="1">
            <a:spLocks noGrp="1"/>
          </p:cNvSpPr>
          <p:nvPr>
            <p:ph type="body" idx="1"/>
          </p:nvPr>
        </p:nvSpPr>
        <p:spPr>
          <a:xfrm>
            <a:off x="411309" y="1196752"/>
            <a:ext cx="11366400" cy="50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925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900"/>
              <a:buFont typeface="Noto Sans"/>
              <a:buChar char="▪"/>
              <a:defRPr sz="1900">
                <a:solidFill>
                  <a:schemeClr val="dk1"/>
                </a:solidFill>
              </a:defRPr>
            </a:lvl1pPr>
            <a:lvl2pPr marL="914400" lvl="1" indent="-3302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SzPts val="1600"/>
              <a:buFont typeface="Arial"/>
              <a:buChar char="–"/>
              <a:defRPr sz="1600">
                <a:solidFill>
                  <a:srgbClr val="7A7A7A"/>
                </a:solidFill>
              </a:defRPr>
            </a:lvl2pPr>
            <a:lvl3pPr marL="1371600" lvl="2" indent="-32385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SzPts val="1500"/>
              <a:buFont typeface="Arial"/>
              <a:buChar char="•"/>
              <a:defRPr sz="1500">
                <a:solidFill>
                  <a:srgbClr val="7A7A7A"/>
                </a:solidFill>
              </a:defRPr>
            </a:lvl3pPr>
            <a:lvl4pPr marL="1828800" lvl="3" indent="-3048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SzPts val="1200"/>
              <a:buFont typeface="Arial"/>
              <a:buChar char="–"/>
              <a:defRPr sz="1200">
                <a:solidFill>
                  <a:srgbClr val="7A7A7A"/>
                </a:solidFill>
              </a:defRPr>
            </a:lvl4pPr>
            <a:lvl5pPr marL="2286000" lvl="4" indent="-3048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SzPts val="1200"/>
              <a:buFont typeface="Arial"/>
              <a:buChar char="»"/>
              <a:defRPr sz="1200">
                <a:solidFill>
                  <a:srgbClr val="7A7A7A"/>
                </a:solidFill>
              </a:defRPr>
            </a:lvl5pPr>
            <a:lvl6pPr marL="2743200" lvl="5" indent="-34925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900"/>
              <a:buChar char="»"/>
              <a:defRPr/>
            </a:lvl6pPr>
            <a:lvl7pPr marL="3200400" lvl="6" indent="-34925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900"/>
              <a:buChar char="»"/>
              <a:defRPr/>
            </a:lvl7pPr>
            <a:lvl8pPr marL="3657600" lvl="7" indent="-34925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900"/>
              <a:buChar char="»"/>
              <a:defRPr/>
            </a:lvl8pPr>
            <a:lvl9pPr marL="4114800" lvl="8" indent="-34925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900"/>
              <a:buChar char="»"/>
              <a:defRPr/>
            </a:lvl9pPr>
          </a:lstStyle>
          <a:p>
            <a:endParaRPr/>
          </a:p>
        </p:txBody>
      </p:sp>
      <p:sp>
        <p:nvSpPr>
          <p:cNvPr id="210" name="Google Shape;210;p31"/>
          <p:cNvSpPr txBox="1">
            <a:spLocks noGrp="1"/>
          </p:cNvSpPr>
          <p:nvPr>
            <p:ph type="title"/>
          </p:nvPr>
        </p:nvSpPr>
        <p:spPr>
          <a:xfrm>
            <a:off x="411309" y="241891"/>
            <a:ext cx="11366400" cy="4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212" name="Google Shape;212;p31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D67B4045-45DD-9899-6010-457F19D9CA8D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1 1">
  <p:cSld name="TITLE_1_3">
    <p:bg>
      <p:bgPr>
        <a:solidFill>
          <a:schemeClr val="lt1"/>
        </a:solidFill>
        <a:effectLst/>
      </p:bgPr>
    </p:bg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32"/>
          <p:cNvSpPr txBox="1">
            <a:spLocks noGrp="1"/>
          </p:cNvSpPr>
          <p:nvPr>
            <p:ph type="title"/>
          </p:nvPr>
        </p:nvSpPr>
        <p:spPr>
          <a:xfrm>
            <a:off x="609447" y="2775800"/>
            <a:ext cx="10970100" cy="8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000"/>
              <a:buNone/>
              <a:defRPr sz="4000">
                <a:solidFill>
                  <a:srgbClr val="1B3659"/>
                </a:solidFill>
              </a:defRPr>
            </a:lvl1pPr>
            <a:lvl2pPr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2pPr>
            <a:lvl3pPr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3pPr>
            <a:lvl4pPr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4pPr>
            <a:lvl5pPr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5pPr>
            <a:lvl6pPr lvl="5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6pPr>
            <a:lvl7pPr lvl="6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7pPr>
            <a:lvl8pPr lvl="7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8pPr>
            <a:lvl9pPr lvl="8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9pPr>
          </a:lstStyle>
          <a:p>
            <a:endParaRPr/>
          </a:p>
        </p:txBody>
      </p:sp>
      <p:sp>
        <p:nvSpPr>
          <p:cNvPr id="216" name="Google Shape;216;p32"/>
          <p:cNvSpPr txBox="1">
            <a:spLocks noGrp="1"/>
          </p:cNvSpPr>
          <p:nvPr>
            <p:ph type="subTitle" idx="1"/>
          </p:nvPr>
        </p:nvSpPr>
        <p:spPr>
          <a:xfrm>
            <a:off x="609447" y="3598587"/>
            <a:ext cx="10970100" cy="48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2pPr>
            <a:lvl3pPr lvl="2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3pPr>
            <a:lvl4pPr lvl="3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4pPr>
            <a:lvl5pPr lvl="4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5pPr>
            <a:lvl6pPr lvl="5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6pPr>
            <a:lvl7pPr lvl="6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7pPr>
            <a:lvl8pPr lvl="7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8pPr>
            <a:lvl9pPr lvl="8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None/>
              <a:defRPr/>
            </a:lvl9pPr>
          </a:lstStyle>
          <a:p>
            <a:endParaRPr/>
          </a:p>
        </p:txBody>
      </p:sp>
      <p:pic>
        <p:nvPicPr>
          <p:cNvPr id="217" name="Google Shape;217;p32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1957" y="6396034"/>
            <a:ext cx="1494692" cy="347413"/>
          </a:xfrm>
          <a:prstGeom prst="rect">
            <a:avLst/>
          </a:prstGeom>
          <a:noFill/>
          <a:ln>
            <a:noFill/>
          </a:ln>
        </p:spPr>
      </p:pic>
      <p:sp>
        <p:nvSpPr>
          <p:cNvPr id="218" name="Google Shape;218;p32"/>
          <p:cNvSpPr/>
          <p:nvPr/>
        </p:nvSpPr>
        <p:spPr>
          <a:xfrm>
            <a:off x="29727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 2">
  <p:cSld name="CUSTOM_7_2">
    <p:bg>
      <p:bgPr>
        <a:solidFill>
          <a:schemeClr val="lt1"/>
        </a:solidFill>
        <a:effectLst/>
      </p:bgPr>
    </p:bg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Google Shape;221;p33"/>
          <p:cNvSpPr txBox="1">
            <a:spLocks noGrp="1"/>
          </p:cNvSpPr>
          <p:nvPr>
            <p:ph type="title"/>
          </p:nvPr>
        </p:nvSpPr>
        <p:spPr>
          <a:xfrm>
            <a:off x="628726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3200"/>
              <a:buNone/>
              <a:defRPr sz="3200">
                <a:solidFill>
                  <a:srgbClr val="1B3659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22" name="Google Shape;222;p33"/>
          <p:cNvSpPr txBox="1">
            <a:spLocks noGrp="1"/>
          </p:cNvSpPr>
          <p:nvPr>
            <p:ph type="subTitle" idx="1"/>
          </p:nvPr>
        </p:nvSpPr>
        <p:spPr>
          <a:xfrm>
            <a:off x="609447" y="1219200"/>
            <a:ext cx="109692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23" name="Google Shape;223;p33"/>
          <p:cNvSpPr txBox="1">
            <a:spLocks noGrp="1"/>
          </p:cNvSpPr>
          <p:nvPr>
            <p:ph type="body" idx="2"/>
          </p:nvPr>
        </p:nvSpPr>
        <p:spPr>
          <a:xfrm>
            <a:off x="609447" y="1758000"/>
            <a:ext cx="10969200" cy="4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pic>
        <p:nvPicPr>
          <p:cNvPr id="224" name="Google Shape;224;p33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1957" y="6396034"/>
            <a:ext cx="1494692" cy="347413"/>
          </a:xfrm>
          <a:prstGeom prst="rect">
            <a:avLst/>
          </a:prstGeom>
          <a:noFill/>
          <a:ln>
            <a:noFill/>
          </a:ln>
        </p:spPr>
      </p:pic>
      <p:sp>
        <p:nvSpPr>
          <p:cNvPr id="225" name="Google Shape;225;p33"/>
          <p:cNvSpPr/>
          <p:nvPr/>
        </p:nvSpPr>
        <p:spPr>
          <a:xfrm>
            <a:off x="29727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68">
          <p15:clr>
            <a:srgbClr val="FA7B17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 delete this">
  <p:cSld name="CUSTOM_9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34"/>
          <p:cNvSpPr txBox="1">
            <a:spLocks noGrp="1"/>
          </p:cNvSpPr>
          <p:nvPr>
            <p:ph type="body" idx="1"/>
          </p:nvPr>
        </p:nvSpPr>
        <p:spPr>
          <a:xfrm>
            <a:off x="609447" y="1805200"/>
            <a:ext cx="10988400" cy="46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4380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229" name="Google Shape;229;p34"/>
          <p:cNvSpPr txBox="1">
            <a:spLocks noGrp="1"/>
          </p:cNvSpPr>
          <p:nvPr>
            <p:ph type="title"/>
          </p:nvPr>
        </p:nvSpPr>
        <p:spPr>
          <a:xfrm>
            <a:off x="628726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3200"/>
              <a:buNone/>
              <a:defRPr sz="3200">
                <a:solidFill>
                  <a:srgbClr val="1B3659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30" name="Google Shape;230;p34"/>
          <p:cNvSpPr txBox="1">
            <a:spLocks noGrp="1"/>
          </p:cNvSpPr>
          <p:nvPr>
            <p:ph type="subTitle" idx="2"/>
          </p:nvPr>
        </p:nvSpPr>
        <p:spPr>
          <a:xfrm>
            <a:off x="609447" y="1219200"/>
            <a:ext cx="10969200" cy="35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pic>
        <p:nvPicPr>
          <p:cNvPr id="231" name="Google Shape;231;p34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1957" y="6396034"/>
            <a:ext cx="1494692" cy="347413"/>
          </a:xfrm>
          <a:prstGeom prst="rect">
            <a:avLst/>
          </a:prstGeom>
          <a:noFill/>
          <a:ln>
            <a:noFill/>
          </a:ln>
        </p:spPr>
      </p:pic>
      <p:sp>
        <p:nvSpPr>
          <p:cNvPr id="232" name="Google Shape;232;p34"/>
          <p:cNvSpPr/>
          <p:nvPr/>
        </p:nvSpPr>
        <p:spPr>
          <a:xfrm>
            <a:off x="29727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 3">
  <p:cSld name="CUSTOM_7_3"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35"/>
          <p:cNvSpPr txBox="1">
            <a:spLocks noGrp="1"/>
          </p:cNvSpPr>
          <p:nvPr>
            <p:ph type="title"/>
          </p:nvPr>
        </p:nvSpPr>
        <p:spPr>
          <a:xfrm>
            <a:off x="628726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3200"/>
              <a:buNone/>
              <a:defRPr sz="3200">
                <a:solidFill>
                  <a:srgbClr val="1B3659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36" name="Google Shape;236;p35"/>
          <p:cNvSpPr txBox="1">
            <a:spLocks noGrp="1"/>
          </p:cNvSpPr>
          <p:nvPr>
            <p:ph type="subTitle" idx="1"/>
          </p:nvPr>
        </p:nvSpPr>
        <p:spPr>
          <a:xfrm>
            <a:off x="609447" y="1219200"/>
            <a:ext cx="109692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37" name="Google Shape;237;p35"/>
          <p:cNvSpPr txBox="1">
            <a:spLocks noGrp="1"/>
          </p:cNvSpPr>
          <p:nvPr>
            <p:ph type="body" idx="2"/>
          </p:nvPr>
        </p:nvSpPr>
        <p:spPr>
          <a:xfrm>
            <a:off x="609447" y="1758000"/>
            <a:ext cx="10969200" cy="4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pic>
        <p:nvPicPr>
          <p:cNvPr id="238" name="Google Shape;238;p35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1957" y="6396034"/>
            <a:ext cx="1494692" cy="347413"/>
          </a:xfrm>
          <a:prstGeom prst="rect">
            <a:avLst/>
          </a:prstGeom>
          <a:noFill/>
          <a:ln>
            <a:noFill/>
          </a:ln>
        </p:spPr>
      </p:pic>
      <p:sp>
        <p:nvSpPr>
          <p:cNvPr id="239" name="Google Shape;239;p35"/>
          <p:cNvSpPr/>
          <p:nvPr/>
        </p:nvSpPr>
        <p:spPr>
          <a:xfrm>
            <a:off x="29727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68">
          <p15:clr>
            <a:srgbClr val="FA7B17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1 2">
  <p:cSld name="TITLE_1_4">
    <p:bg>
      <p:bgPr>
        <a:solidFill>
          <a:schemeClr val="lt1"/>
        </a:solidFill>
        <a:effectLst/>
      </p:bgPr>
    </p:bg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36"/>
          <p:cNvSpPr txBox="1">
            <a:spLocks noGrp="1"/>
          </p:cNvSpPr>
          <p:nvPr>
            <p:ph type="title"/>
          </p:nvPr>
        </p:nvSpPr>
        <p:spPr>
          <a:xfrm>
            <a:off x="609447" y="2775800"/>
            <a:ext cx="10970100" cy="8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000"/>
              <a:buNone/>
              <a:defRPr sz="4000">
                <a:solidFill>
                  <a:srgbClr val="1B3659"/>
                </a:solidFill>
              </a:defRPr>
            </a:lvl1pPr>
            <a:lvl2pPr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2pPr>
            <a:lvl3pPr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3pPr>
            <a:lvl4pPr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4pPr>
            <a:lvl5pPr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5pPr>
            <a:lvl6pPr lvl="5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6pPr>
            <a:lvl7pPr lvl="6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7pPr>
            <a:lvl8pPr lvl="7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8pPr>
            <a:lvl9pPr lvl="8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4800"/>
              <a:buNone/>
              <a:defRPr sz="4800">
                <a:solidFill>
                  <a:srgbClr val="1B3659"/>
                </a:solidFill>
              </a:defRPr>
            </a:lvl9pPr>
          </a:lstStyle>
          <a:p>
            <a:endParaRPr/>
          </a:p>
        </p:txBody>
      </p:sp>
      <p:sp>
        <p:nvSpPr>
          <p:cNvPr id="243" name="Google Shape;243;p36"/>
          <p:cNvSpPr txBox="1">
            <a:spLocks noGrp="1"/>
          </p:cNvSpPr>
          <p:nvPr>
            <p:ph type="subTitle" idx="1"/>
          </p:nvPr>
        </p:nvSpPr>
        <p:spPr>
          <a:xfrm>
            <a:off x="609447" y="3598587"/>
            <a:ext cx="10970100" cy="48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2pPr>
            <a:lvl3pPr lvl="2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3pPr>
            <a:lvl4pPr lvl="3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4pPr>
            <a:lvl5pPr lvl="4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5pPr>
            <a:lvl6pPr lvl="5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6pPr>
            <a:lvl7pPr lvl="6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7pPr>
            <a:lvl8pPr lvl="7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8pPr>
            <a:lvl9pPr lvl="8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None/>
              <a:defRPr/>
            </a:lvl9pPr>
          </a:lstStyle>
          <a:p>
            <a:endParaRPr/>
          </a:p>
        </p:txBody>
      </p:sp>
      <p:pic>
        <p:nvPicPr>
          <p:cNvPr id="244" name="Google Shape;244;p36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1957" y="6396034"/>
            <a:ext cx="1494692" cy="347413"/>
          </a:xfrm>
          <a:prstGeom prst="rect">
            <a:avLst/>
          </a:prstGeom>
          <a:noFill/>
          <a:ln>
            <a:noFill/>
          </a:ln>
        </p:spPr>
      </p:pic>
      <p:sp>
        <p:nvSpPr>
          <p:cNvPr id="245" name="Google Shape;245;p36"/>
          <p:cNvSpPr/>
          <p:nvPr/>
        </p:nvSpPr>
        <p:spPr>
          <a:xfrm>
            <a:off x="29727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ductions 1">
  <p:cSld name="1_Title - Frontiers 3_2_1">
    <p:bg>
      <p:bgPr>
        <a:gradFill>
          <a:gsLst>
            <a:gs pos="0">
              <a:srgbClr val="CDF9FF"/>
            </a:gs>
            <a:gs pos="52999">
              <a:srgbClr val="F3FEFF"/>
            </a:gs>
            <a:gs pos="100000">
              <a:schemeClr val="lt1"/>
            </a:gs>
          </a:gsLst>
          <a:lin ang="13500032" scaled="0"/>
        </a:gradFill>
        <a:effectLst/>
      </p:bgPr>
    </p:bg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8"/>
          <p:cNvSpPr/>
          <p:nvPr/>
        </p:nvSpPr>
        <p:spPr>
          <a:xfrm rot="10800000">
            <a:off x="4357121" y="199"/>
            <a:ext cx="7820700" cy="3564300"/>
          </a:xfrm>
          <a:prstGeom prst="rtTriangle">
            <a:avLst/>
          </a:prstGeom>
          <a:gradFill>
            <a:gsLst>
              <a:gs pos="0">
                <a:srgbClr val="CDF9FF"/>
              </a:gs>
              <a:gs pos="52999">
                <a:srgbClr val="F3FEFF"/>
              </a:gs>
              <a:gs pos="100000">
                <a:schemeClr val="lt1"/>
              </a:gs>
            </a:gsLst>
            <a:lin ang="1350003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28727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>
                <a:solidFill>
                  <a:schemeClr val="accent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>
                <a:solidFill>
                  <a:schemeClr val="accent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>
                <a:solidFill>
                  <a:schemeClr val="accent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>
                <a:solidFill>
                  <a:schemeClr val="accent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>
                <a:solidFill>
                  <a:schemeClr val="accent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>
                <a:solidFill>
                  <a:schemeClr val="accent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>
                <a:solidFill>
                  <a:schemeClr val="accent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ubTitle" idx="1"/>
          </p:nvPr>
        </p:nvSpPr>
        <p:spPr>
          <a:xfrm>
            <a:off x="609447" y="1219200"/>
            <a:ext cx="109692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sp>
        <p:nvSpPr>
          <p:cNvPr id="48" name="Google Shape;48;p8"/>
          <p:cNvSpPr txBox="1">
            <a:spLocks noGrp="1"/>
          </p:cNvSpPr>
          <p:nvPr>
            <p:ph type="body" idx="2"/>
          </p:nvPr>
        </p:nvSpPr>
        <p:spPr>
          <a:xfrm>
            <a:off x="609432" y="1805200"/>
            <a:ext cx="10969200" cy="380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49" name="Google Shape;49;p8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50" name="Google Shape;50;p8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ductions + Image 1">
  <p:cSld name="1_Title - Frontiers 3_2_2">
    <p:bg>
      <p:bgPr>
        <a:gradFill>
          <a:gsLst>
            <a:gs pos="0">
              <a:srgbClr val="CDF9FF"/>
            </a:gs>
            <a:gs pos="52999">
              <a:srgbClr val="F3FEFF"/>
            </a:gs>
            <a:gs pos="100000">
              <a:schemeClr val="lt1"/>
            </a:gs>
          </a:gsLst>
          <a:lin ang="13500032" scaled="0"/>
        </a:gradFill>
        <a:effectLst/>
      </p:bgPr>
    </p:bg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37"/>
          <p:cNvSpPr/>
          <p:nvPr/>
        </p:nvSpPr>
        <p:spPr>
          <a:xfrm rot="10800000">
            <a:off x="4357121" y="199"/>
            <a:ext cx="7820700" cy="3564300"/>
          </a:xfrm>
          <a:prstGeom prst="rtTriangle">
            <a:avLst/>
          </a:prstGeom>
          <a:gradFill>
            <a:gsLst>
              <a:gs pos="0">
                <a:srgbClr val="CDF9FF"/>
              </a:gs>
              <a:gs pos="52999">
                <a:srgbClr val="F3FEFF"/>
              </a:gs>
              <a:gs pos="100000">
                <a:schemeClr val="lt1"/>
              </a:gs>
            </a:gsLst>
            <a:lin ang="1350003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9" name="Google Shape;249;p37"/>
          <p:cNvSpPr/>
          <p:nvPr/>
        </p:nvSpPr>
        <p:spPr>
          <a:xfrm>
            <a:off x="9597898" y="457195"/>
            <a:ext cx="1905600" cy="179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20563" y="105675"/>
                </a:moveTo>
                <a:lnTo>
                  <a:pt x="27077" y="105675"/>
                </a:lnTo>
                <a:cubicBezTo>
                  <a:pt x="27108" y="105675"/>
                  <a:pt x="27140" y="105819"/>
                  <a:pt x="27158" y="106107"/>
                </a:cubicBezTo>
                <a:cubicBezTo>
                  <a:pt x="27176" y="106394"/>
                  <a:pt x="27181" y="106730"/>
                  <a:pt x="27172" y="107065"/>
                </a:cubicBezTo>
                <a:cubicBezTo>
                  <a:pt x="26954" y="114682"/>
                  <a:pt x="26274" y="119999"/>
                  <a:pt x="25522" y="119999"/>
                </a:cubicBezTo>
                <a:lnTo>
                  <a:pt x="19008" y="119999"/>
                </a:lnTo>
                <a:cubicBezTo>
                  <a:pt x="18976" y="119999"/>
                  <a:pt x="18945" y="119856"/>
                  <a:pt x="18926" y="119616"/>
                </a:cubicBezTo>
                <a:cubicBezTo>
                  <a:pt x="18908" y="119329"/>
                  <a:pt x="18904" y="118994"/>
                  <a:pt x="18913" y="118658"/>
                </a:cubicBezTo>
                <a:cubicBezTo>
                  <a:pt x="19130" y="111041"/>
                  <a:pt x="19810" y="105675"/>
                  <a:pt x="20563" y="105675"/>
                </a:cubicBezTo>
                <a:close/>
                <a:moveTo>
                  <a:pt x="21327" y="52837"/>
                </a:moveTo>
                <a:lnTo>
                  <a:pt x="27841" y="52837"/>
                </a:lnTo>
                <a:cubicBezTo>
                  <a:pt x="27873" y="52837"/>
                  <a:pt x="27900" y="53029"/>
                  <a:pt x="27919" y="53269"/>
                </a:cubicBezTo>
                <a:cubicBezTo>
                  <a:pt x="27937" y="53556"/>
                  <a:pt x="27941" y="53892"/>
                  <a:pt x="27932" y="54227"/>
                </a:cubicBezTo>
                <a:cubicBezTo>
                  <a:pt x="27715" y="61796"/>
                  <a:pt x="27039" y="67162"/>
                  <a:pt x="26282" y="67162"/>
                </a:cubicBezTo>
                <a:lnTo>
                  <a:pt x="19768" y="67162"/>
                </a:lnTo>
                <a:cubicBezTo>
                  <a:pt x="19736" y="67162"/>
                  <a:pt x="19709" y="66970"/>
                  <a:pt x="19687" y="66730"/>
                </a:cubicBezTo>
                <a:cubicBezTo>
                  <a:pt x="19673" y="66443"/>
                  <a:pt x="19664" y="66108"/>
                  <a:pt x="19673" y="65772"/>
                </a:cubicBezTo>
                <a:cubicBezTo>
                  <a:pt x="19891" y="58203"/>
                  <a:pt x="20570" y="52837"/>
                  <a:pt x="21327" y="52837"/>
                </a:cubicBezTo>
                <a:close/>
                <a:moveTo>
                  <a:pt x="60050" y="14273"/>
                </a:moveTo>
                <a:cubicBezTo>
                  <a:pt x="59860" y="14273"/>
                  <a:pt x="59705" y="15901"/>
                  <a:pt x="59701" y="17961"/>
                </a:cubicBezTo>
                <a:lnTo>
                  <a:pt x="59701" y="64085"/>
                </a:lnTo>
                <a:lnTo>
                  <a:pt x="62365" y="64085"/>
                </a:lnTo>
                <a:cubicBezTo>
                  <a:pt x="64145" y="64085"/>
                  <a:pt x="65343" y="54122"/>
                  <a:pt x="65343" y="39227"/>
                </a:cubicBezTo>
                <a:lnTo>
                  <a:pt x="65343" y="38891"/>
                </a:lnTo>
                <a:cubicBezTo>
                  <a:pt x="65343" y="23229"/>
                  <a:pt x="64281" y="14273"/>
                  <a:pt x="62434" y="14273"/>
                </a:cubicBezTo>
                <a:close/>
                <a:moveTo>
                  <a:pt x="1846" y="14225"/>
                </a:moveTo>
                <a:cubicBezTo>
                  <a:pt x="1623" y="14225"/>
                  <a:pt x="1447" y="16141"/>
                  <a:pt x="1447" y="18488"/>
                </a:cubicBezTo>
                <a:lnTo>
                  <a:pt x="1447" y="105515"/>
                </a:lnTo>
                <a:lnTo>
                  <a:pt x="3969" y="105515"/>
                </a:lnTo>
                <a:cubicBezTo>
                  <a:pt x="6636" y="105515"/>
                  <a:pt x="8505" y="86883"/>
                  <a:pt x="8505" y="60205"/>
                </a:cubicBezTo>
                <a:lnTo>
                  <a:pt x="8505" y="59918"/>
                </a:lnTo>
                <a:cubicBezTo>
                  <a:pt x="8505" y="33048"/>
                  <a:pt x="6640" y="14225"/>
                  <a:pt x="3973" y="14225"/>
                </a:cubicBezTo>
                <a:close/>
                <a:moveTo>
                  <a:pt x="109963" y="0"/>
                </a:moveTo>
                <a:lnTo>
                  <a:pt x="110784" y="0"/>
                </a:lnTo>
                <a:cubicBezTo>
                  <a:pt x="111229" y="0"/>
                  <a:pt x="111651" y="2203"/>
                  <a:pt x="111914" y="5987"/>
                </a:cubicBezTo>
                <a:lnTo>
                  <a:pt x="114855" y="47848"/>
                </a:lnTo>
                <a:lnTo>
                  <a:pt x="117801" y="5987"/>
                </a:lnTo>
                <a:cubicBezTo>
                  <a:pt x="118068" y="2203"/>
                  <a:pt x="118490" y="0"/>
                  <a:pt x="118935" y="0"/>
                </a:cubicBezTo>
                <a:lnTo>
                  <a:pt x="119743" y="0"/>
                </a:lnTo>
                <a:cubicBezTo>
                  <a:pt x="119779" y="0"/>
                  <a:pt x="119811" y="191"/>
                  <a:pt x="119829" y="526"/>
                </a:cubicBezTo>
                <a:cubicBezTo>
                  <a:pt x="119843" y="862"/>
                  <a:pt x="119843" y="1245"/>
                  <a:pt x="119820" y="1580"/>
                </a:cubicBezTo>
                <a:lnTo>
                  <a:pt x="115745" y="58768"/>
                </a:lnTo>
                <a:lnTo>
                  <a:pt x="119979" y="118208"/>
                </a:lnTo>
                <a:cubicBezTo>
                  <a:pt x="120002" y="118543"/>
                  <a:pt x="120002" y="118926"/>
                  <a:pt x="119997" y="119261"/>
                </a:cubicBezTo>
                <a:cubicBezTo>
                  <a:pt x="119979" y="119597"/>
                  <a:pt x="119947" y="119788"/>
                  <a:pt x="119911" y="119788"/>
                </a:cubicBezTo>
                <a:lnTo>
                  <a:pt x="119071" y="119788"/>
                </a:lnTo>
                <a:cubicBezTo>
                  <a:pt x="118627" y="119788"/>
                  <a:pt x="118204" y="117585"/>
                  <a:pt x="117937" y="113801"/>
                </a:cubicBezTo>
                <a:lnTo>
                  <a:pt x="114832" y="69593"/>
                </a:lnTo>
                <a:lnTo>
                  <a:pt x="111728" y="113801"/>
                </a:lnTo>
                <a:cubicBezTo>
                  <a:pt x="111465" y="117585"/>
                  <a:pt x="111043" y="119788"/>
                  <a:pt x="110593" y="119788"/>
                </a:cubicBezTo>
                <a:lnTo>
                  <a:pt x="109804" y="119788"/>
                </a:lnTo>
                <a:cubicBezTo>
                  <a:pt x="109767" y="119788"/>
                  <a:pt x="109736" y="119597"/>
                  <a:pt x="109722" y="119261"/>
                </a:cubicBezTo>
                <a:cubicBezTo>
                  <a:pt x="109704" y="118926"/>
                  <a:pt x="109704" y="118543"/>
                  <a:pt x="109727" y="118208"/>
                </a:cubicBezTo>
                <a:lnTo>
                  <a:pt x="113961" y="58768"/>
                </a:lnTo>
                <a:lnTo>
                  <a:pt x="109885" y="1580"/>
                </a:lnTo>
                <a:cubicBezTo>
                  <a:pt x="109863" y="1245"/>
                  <a:pt x="109858" y="862"/>
                  <a:pt x="109876" y="526"/>
                </a:cubicBezTo>
                <a:cubicBezTo>
                  <a:pt x="109895" y="191"/>
                  <a:pt x="109926" y="0"/>
                  <a:pt x="109963" y="0"/>
                </a:cubicBezTo>
                <a:close/>
                <a:moveTo>
                  <a:pt x="98360" y="0"/>
                </a:moveTo>
                <a:lnTo>
                  <a:pt x="99402" y="0"/>
                </a:lnTo>
                <a:cubicBezTo>
                  <a:pt x="99456" y="0"/>
                  <a:pt x="99497" y="431"/>
                  <a:pt x="99497" y="957"/>
                </a:cubicBezTo>
                <a:lnTo>
                  <a:pt x="99497" y="106569"/>
                </a:lnTo>
                <a:lnTo>
                  <a:pt x="99497" y="116435"/>
                </a:lnTo>
                <a:cubicBezTo>
                  <a:pt x="99497" y="118256"/>
                  <a:pt x="99352" y="119740"/>
                  <a:pt x="99179" y="119740"/>
                </a:cubicBezTo>
                <a:lnTo>
                  <a:pt x="98160" y="119740"/>
                </a:lnTo>
                <a:cubicBezTo>
                  <a:pt x="98151" y="119788"/>
                  <a:pt x="98146" y="119788"/>
                  <a:pt x="98137" y="119788"/>
                </a:cubicBezTo>
                <a:cubicBezTo>
                  <a:pt x="98128" y="119788"/>
                  <a:pt x="98114" y="119788"/>
                  <a:pt x="98105" y="119740"/>
                </a:cubicBezTo>
                <a:cubicBezTo>
                  <a:pt x="98069" y="119549"/>
                  <a:pt x="98041" y="119261"/>
                  <a:pt x="98041" y="118830"/>
                </a:cubicBezTo>
                <a:lnTo>
                  <a:pt x="98041" y="3304"/>
                </a:lnTo>
                <a:cubicBezTo>
                  <a:pt x="98041" y="1484"/>
                  <a:pt x="98187" y="0"/>
                  <a:pt x="98360" y="0"/>
                </a:cubicBezTo>
                <a:close/>
                <a:moveTo>
                  <a:pt x="77230" y="0"/>
                </a:moveTo>
                <a:lnTo>
                  <a:pt x="78268" y="0"/>
                </a:lnTo>
                <a:cubicBezTo>
                  <a:pt x="78323" y="0"/>
                  <a:pt x="78363" y="431"/>
                  <a:pt x="78363" y="957"/>
                </a:cubicBezTo>
                <a:lnTo>
                  <a:pt x="78363" y="52398"/>
                </a:lnTo>
                <a:lnTo>
                  <a:pt x="84623" y="52398"/>
                </a:lnTo>
                <a:lnTo>
                  <a:pt x="84623" y="3304"/>
                </a:lnTo>
                <a:cubicBezTo>
                  <a:pt x="84623" y="1484"/>
                  <a:pt x="84768" y="0"/>
                  <a:pt x="84940" y="0"/>
                </a:cubicBezTo>
                <a:lnTo>
                  <a:pt x="85979" y="0"/>
                </a:lnTo>
                <a:cubicBezTo>
                  <a:pt x="86029" y="0"/>
                  <a:pt x="86074" y="431"/>
                  <a:pt x="86074" y="957"/>
                </a:cubicBezTo>
                <a:lnTo>
                  <a:pt x="86074" y="116483"/>
                </a:lnTo>
                <a:cubicBezTo>
                  <a:pt x="86074" y="118303"/>
                  <a:pt x="85929" y="119788"/>
                  <a:pt x="85757" y="119788"/>
                </a:cubicBezTo>
                <a:lnTo>
                  <a:pt x="84718" y="119788"/>
                </a:lnTo>
                <a:cubicBezTo>
                  <a:pt x="84668" y="119788"/>
                  <a:pt x="84623" y="119357"/>
                  <a:pt x="84623" y="118830"/>
                </a:cubicBezTo>
                <a:lnTo>
                  <a:pt x="84623" y="66815"/>
                </a:lnTo>
                <a:lnTo>
                  <a:pt x="78363" y="66815"/>
                </a:lnTo>
                <a:lnTo>
                  <a:pt x="78363" y="116435"/>
                </a:lnTo>
                <a:cubicBezTo>
                  <a:pt x="78363" y="118303"/>
                  <a:pt x="78223" y="119788"/>
                  <a:pt x="78051" y="119788"/>
                </a:cubicBezTo>
                <a:lnTo>
                  <a:pt x="77012" y="119788"/>
                </a:lnTo>
                <a:cubicBezTo>
                  <a:pt x="76957" y="119788"/>
                  <a:pt x="76917" y="119309"/>
                  <a:pt x="76917" y="118783"/>
                </a:cubicBezTo>
                <a:lnTo>
                  <a:pt x="76917" y="3304"/>
                </a:lnTo>
                <a:cubicBezTo>
                  <a:pt x="76917" y="1484"/>
                  <a:pt x="77057" y="0"/>
                  <a:pt x="77230" y="0"/>
                </a:cubicBezTo>
                <a:close/>
                <a:moveTo>
                  <a:pt x="59664" y="0"/>
                </a:moveTo>
                <a:lnTo>
                  <a:pt x="62529" y="0"/>
                </a:lnTo>
                <a:cubicBezTo>
                  <a:pt x="65130" y="0"/>
                  <a:pt x="66810" y="15039"/>
                  <a:pt x="66810" y="38412"/>
                </a:cubicBezTo>
                <a:lnTo>
                  <a:pt x="66810" y="38748"/>
                </a:lnTo>
                <a:cubicBezTo>
                  <a:pt x="66810" y="66001"/>
                  <a:pt x="64676" y="78262"/>
                  <a:pt x="62134" y="78262"/>
                </a:cubicBezTo>
                <a:lnTo>
                  <a:pt x="59705" y="78262"/>
                </a:lnTo>
                <a:lnTo>
                  <a:pt x="59705" y="116483"/>
                </a:lnTo>
                <a:cubicBezTo>
                  <a:pt x="59705" y="118303"/>
                  <a:pt x="59564" y="119788"/>
                  <a:pt x="59392" y="119788"/>
                </a:cubicBezTo>
                <a:lnTo>
                  <a:pt x="58348" y="119788"/>
                </a:lnTo>
                <a:cubicBezTo>
                  <a:pt x="58298" y="119788"/>
                  <a:pt x="58252" y="119357"/>
                  <a:pt x="58252" y="118830"/>
                </a:cubicBezTo>
                <a:lnTo>
                  <a:pt x="58252" y="14895"/>
                </a:lnTo>
                <a:cubicBezTo>
                  <a:pt x="58252" y="6705"/>
                  <a:pt x="58888" y="0"/>
                  <a:pt x="59664" y="0"/>
                </a:cubicBezTo>
                <a:close/>
                <a:moveTo>
                  <a:pt x="40088" y="0"/>
                </a:moveTo>
                <a:lnTo>
                  <a:pt x="41108" y="0"/>
                </a:lnTo>
                <a:cubicBezTo>
                  <a:pt x="41158" y="0"/>
                  <a:pt x="41199" y="383"/>
                  <a:pt x="41199" y="910"/>
                </a:cubicBezTo>
                <a:lnTo>
                  <a:pt x="41199" y="105563"/>
                </a:lnTo>
                <a:lnTo>
                  <a:pt x="47895" y="105563"/>
                </a:lnTo>
                <a:cubicBezTo>
                  <a:pt x="47945" y="105563"/>
                  <a:pt x="47986" y="105994"/>
                  <a:pt x="47986" y="106521"/>
                </a:cubicBezTo>
                <a:lnTo>
                  <a:pt x="47986" y="116675"/>
                </a:lnTo>
                <a:cubicBezTo>
                  <a:pt x="47986" y="118399"/>
                  <a:pt x="47854" y="119788"/>
                  <a:pt x="47691" y="119788"/>
                </a:cubicBezTo>
                <a:lnTo>
                  <a:pt x="40465" y="119788"/>
                </a:lnTo>
                <a:cubicBezTo>
                  <a:pt x="40070" y="119788"/>
                  <a:pt x="39748" y="116435"/>
                  <a:pt x="39748" y="112221"/>
                </a:cubicBezTo>
                <a:lnTo>
                  <a:pt x="39748" y="3592"/>
                </a:lnTo>
                <a:cubicBezTo>
                  <a:pt x="39748" y="1580"/>
                  <a:pt x="39902" y="0"/>
                  <a:pt x="40088" y="0"/>
                </a:cubicBezTo>
                <a:close/>
                <a:moveTo>
                  <a:pt x="21883" y="0"/>
                </a:moveTo>
                <a:lnTo>
                  <a:pt x="28397" y="0"/>
                </a:lnTo>
                <a:cubicBezTo>
                  <a:pt x="28429" y="0"/>
                  <a:pt x="28456" y="143"/>
                  <a:pt x="28479" y="383"/>
                </a:cubicBezTo>
                <a:cubicBezTo>
                  <a:pt x="28497" y="670"/>
                  <a:pt x="28501" y="1006"/>
                  <a:pt x="28492" y="1341"/>
                </a:cubicBezTo>
                <a:cubicBezTo>
                  <a:pt x="28275" y="8958"/>
                  <a:pt x="27595" y="14324"/>
                  <a:pt x="26842" y="14324"/>
                </a:cubicBezTo>
                <a:lnTo>
                  <a:pt x="20324" y="14324"/>
                </a:lnTo>
                <a:cubicBezTo>
                  <a:pt x="20297" y="14324"/>
                  <a:pt x="20265" y="14180"/>
                  <a:pt x="20247" y="13892"/>
                </a:cubicBezTo>
                <a:cubicBezTo>
                  <a:pt x="20229" y="13605"/>
                  <a:pt x="20224" y="13270"/>
                  <a:pt x="20233" y="12934"/>
                </a:cubicBezTo>
                <a:cubicBezTo>
                  <a:pt x="20451" y="5317"/>
                  <a:pt x="21131" y="0"/>
                  <a:pt x="21883" y="0"/>
                </a:cubicBezTo>
                <a:close/>
                <a:moveTo>
                  <a:pt x="1410" y="0"/>
                </a:moveTo>
                <a:lnTo>
                  <a:pt x="3973" y="0"/>
                </a:lnTo>
                <a:cubicBezTo>
                  <a:pt x="7461" y="0"/>
                  <a:pt x="9997" y="25049"/>
                  <a:pt x="9997" y="59583"/>
                </a:cubicBezTo>
                <a:lnTo>
                  <a:pt x="9997" y="59918"/>
                </a:lnTo>
                <a:cubicBezTo>
                  <a:pt x="9997" y="94595"/>
                  <a:pt x="7461" y="119788"/>
                  <a:pt x="3973" y="119788"/>
                </a:cubicBezTo>
                <a:lnTo>
                  <a:pt x="1410" y="119788"/>
                </a:lnTo>
                <a:cubicBezTo>
                  <a:pt x="630" y="119788"/>
                  <a:pt x="0" y="113131"/>
                  <a:pt x="0" y="104893"/>
                </a:cubicBezTo>
                <a:lnTo>
                  <a:pt x="0" y="14895"/>
                </a:lnTo>
                <a:cubicBezTo>
                  <a:pt x="0" y="6657"/>
                  <a:pt x="630" y="0"/>
                  <a:pt x="141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900" b="0" i="0" u="none" strike="noStrike" cap="none" dirty="0">
              <a:solidFill>
                <a:schemeClr val="accen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50" name="Google Shape;250;p37"/>
          <p:cNvSpPr>
            <a:spLocks noGrp="1"/>
          </p:cNvSpPr>
          <p:nvPr>
            <p:ph type="pic" idx="2"/>
          </p:nvPr>
        </p:nvSpPr>
        <p:spPr>
          <a:xfrm>
            <a:off x="6414801" y="1805200"/>
            <a:ext cx="5161200" cy="42612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51" name="Google Shape;251;p37"/>
          <p:cNvSpPr txBox="1">
            <a:spLocks noGrp="1"/>
          </p:cNvSpPr>
          <p:nvPr>
            <p:ph type="title"/>
          </p:nvPr>
        </p:nvSpPr>
        <p:spPr>
          <a:xfrm>
            <a:off x="609440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659"/>
              </a:buClr>
              <a:buSzPts val="3200"/>
              <a:buNone/>
              <a:defRPr sz="3200">
                <a:solidFill>
                  <a:srgbClr val="1B3659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52" name="Google Shape;252;p37"/>
          <p:cNvSpPr txBox="1">
            <a:spLocks noGrp="1"/>
          </p:cNvSpPr>
          <p:nvPr>
            <p:ph type="subTitle" idx="1"/>
          </p:nvPr>
        </p:nvSpPr>
        <p:spPr>
          <a:xfrm>
            <a:off x="609440" y="1219200"/>
            <a:ext cx="109692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sp>
        <p:nvSpPr>
          <p:cNvPr id="253" name="Google Shape;253;p37"/>
          <p:cNvSpPr txBox="1">
            <a:spLocks noGrp="1"/>
          </p:cNvSpPr>
          <p:nvPr>
            <p:ph type="body" idx="3"/>
          </p:nvPr>
        </p:nvSpPr>
        <p:spPr>
          <a:xfrm>
            <a:off x="609440" y="1805200"/>
            <a:ext cx="5805300" cy="380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254" name="Google Shape;254;p37"/>
          <p:cNvSpPr/>
          <p:nvPr/>
        </p:nvSpPr>
        <p:spPr>
          <a:xfrm>
            <a:off x="29727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Private and Confidential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14E8CC8A-C928-8595-F919-8B9D19CF9BC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">
  <p:cSld name="CUSTOM_7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32"/>
          <p:cNvSpPr txBox="1">
            <a:spLocks noGrp="1"/>
          </p:cNvSpPr>
          <p:nvPr>
            <p:ph type="title"/>
          </p:nvPr>
        </p:nvSpPr>
        <p:spPr>
          <a:xfrm>
            <a:off x="628720" y="609600"/>
            <a:ext cx="10969043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9pPr>
          </a:lstStyle>
          <a:p>
            <a:endParaRPr/>
          </a:p>
        </p:txBody>
      </p:sp>
      <p:sp>
        <p:nvSpPr>
          <p:cNvPr id="26" name="Google Shape;26;p32"/>
          <p:cNvSpPr txBox="1">
            <a:spLocks noGrp="1"/>
          </p:cNvSpPr>
          <p:nvPr>
            <p:ph type="subTitle" idx="1"/>
          </p:nvPr>
        </p:nvSpPr>
        <p:spPr>
          <a:xfrm>
            <a:off x="609441" y="1219200"/>
            <a:ext cx="10969043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" name="Google Shape;27;p32"/>
          <p:cNvSpPr txBox="1">
            <a:spLocks noGrp="1"/>
          </p:cNvSpPr>
          <p:nvPr>
            <p:ph type="body" idx="2"/>
          </p:nvPr>
        </p:nvSpPr>
        <p:spPr>
          <a:xfrm>
            <a:off x="609441" y="1758001"/>
            <a:ext cx="10988322" cy="4599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31105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126" lvl="1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189" lvl="2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251" lvl="3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5314" lvl="4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2377" lvl="5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199440" lvl="6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6503" lvl="7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3566" lvl="8" indent="-311057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 dirty="0"/>
          </a:p>
        </p:txBody>
      </p:sp>
      <p:sp>
        <p:nvSpPr>
          <p:cNvPr id="28" name="Google Shape;28;p32"/>
          <p:cNvSpPr txBox="1">
            <a:spLocks noGrp="1"/>
          </p:cNvSpPr>
          <p:nvPr>
            <p:ph type="sldNum" idx="12"/>
          </p:nvPr>
        </p:nvSpPr>
        <p:spPr>
          <a:xfrm>
            <a:off x="11850661" y="6619200"/>
            <a:ext cx="362606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68" userDrawn="1">
          <p15:clr>
            <a:srgbClr val="FA7B17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FD0DC-3853-5040-A3D4-605F29FFE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996" y="558800"/>
            <a:ext cx="11249270" cy="73152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79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lnSpc>
                <a:spcPct val="8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C53FB50-D1D6-AF42-954E-A60FFED3BC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5996" y="344424"/>
            <a:ext cx="4702350" cy="17686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tx1">
                    <a:lumMod val="50000"/>
                    <a:lumOff val="5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531" lvl="0" indent="-228531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15616297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FD0DC-3853-5040-A3D4-605F29FFE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996" y="558800"/>
            <a:ext cx="11249270" cy="73152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799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lnSpc>
                <a:spcPct val="8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C53FB50-D1D6-AF42-954E-A60FFED3BC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5996" y="344424"/>
            <a:ext cx="4702350" cy="17686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tx1">
                    <a:lumMod val="50000"/>
                    <a:lumOff val="5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531" lvl="0" indent="-228531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15616297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">
  <p:cSld name="CUSTOM_7">
    <p:spTree>
      <p:nvGrpSpPr>
        <p:cNvPr id="1" name="Shape 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" name="Google Shape;467;g24ef7f3fd84_0_2790"/>
          <p:cNvSpPr txBox="1">
            <a:spLocks noGrp="1"/>
          </p:cNvSpPr>
          <p:nvPr>
            <p:ph type="title"/>
          </p:nvPr>
        </p:nvSpPr>
        <p:spPr>
          <a:xfrm>
            <a:off x="628720" y="609600"/>
            <a:ext cx="10969043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199"/>
            </a:lvl9pPr>
          </a:lstStyle>
          <a:p>
            <a:endParaRPr/>
          </a:p>
        </p:txBody>
      </p:sp>
      <p:sp>
        <p:nvSpPr>
          <p:cNvPr id="468" name="Google Shape;468;g24ef7f3fd84_0_2790"/>
          <p:cNvSpPr txBox="1">
            <a:spLocks noGrp="1"/>
          </p:cNvSpPr>
          <p:nvPr>
            <p:ph type="subTitle" idx="1"/>
          </p:nvPr>
        </p:nvSpPr>
        <p:spPr>
          <a:xfrm>
            <a:off x="609441" y="1219200"/>
            <a:ext cx="10969043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899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469" name="Google Shape;469;g24ef7f3fd84_0_2790"/>
          <p:cNvSpPr txBox="1">
            <a:spLocks noGrp="1"/>
          </p:cNvSpPr>
          <p:nvPr>
            <p:ph type="body" idx="2"/>
          </p:nvPr>
        </p:nvSpPr>
        <p:spPr>
          <a:xfrm>
            <a:off x="609441" y="1758000"/>
            <a:ext cx="10969043" cy="4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31105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126" lvl="1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189" lvl="2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251" lvl="3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5314" lvl="4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2377" lvl="5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199440" lvl="6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6503" lvl="7" indent="-31105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3566" lvl="8" indent="-311057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470" name="Google Shape;470;g24ef7f3fd84_0_2790"/>
          <p:cNvSpPr txBox="1">
            <a:spLocks noGrp="1"/>
          </p:cNvSpPr>
          <p:nvPr>
            <p:ph type="sldNum" idx="12"/>
          </p:nvPr>
        </p:nvSpPr>
        <p:spPr>
          <a:xfrm>
            <a:off x="11850661" y="6619200"/>
            <a:ext cx="362606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68" userDrawn="1">
          <p15:clr>
            <a:srgbClr val="FA7B17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eatured 2b">
  <p:cSld name="SECTION_TITLE_AND_DESCRIPTION_2_1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26"/>
          <p:cNvSpPr/>
          <p:nvPr/>
        </p:nvSpPr>
        <p:spPr>
          <a:xfrm>
            <a:off x="-68082" y="-98400"/>
            <a:ext cx="3938574" cy="70548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</p:spPr>
        <p:txBody>
          <a:bodyPr spcFirstLastPara="1" wrap="square" lIns="121850" tIns="121850" rIns="121850" bIns="1218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899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54;p26"/>
          <p:cNvSpPr txBox="1">
            <a:spLocks noGrp="1"/>
          </p:cNvSpPr>
          <p:nvPr>
            <p:ph type="body" idx="1"/>
          </p:nvPr>
        </p:nvSpPr>
        <p:spPr>
          <a:xfrm>
            <a:off x="4182411" y="609600"/>
            <a:ext cx="7392774" cy="584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302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●"/>
              <a:defRPr sz="1600">
                <a:solidFill>
                  <a:schemeClr val="dk2"/>
                </a:solidFill>
              </a:defRPr>
            </a:lvl1pPr>
            <a:lvl2pPr marL="914400" lvl="1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○"/>
              <a:defRPr sz="1600">
                <a:solidFill>
                  <a:schemeClr val="dk2"/>
                </a:solidFill>
              </a:defRPr>
            </a:lvl2pPr>
            <a:lvl3pPr marL="1371600" lvl="2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■"/>
              <a:defRPr sz="1600">
                <a:solidFill>
                  <a:schemeClr val="dk2"/>
                </a:solidFill>
              </a:defRPr>
            </a:lvl3pPr>
            <a:lvl4pPr marL="1828800" lvl="3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●"/>
              <a:defRPr sz="1600">
                <a:solidFill>
                  <a:schemeClr val="dk2"/>
                </a:solidFill>
              </a:defRPr>
            </a:lvl4pPr>
            <a:lvl5pPr marL="2286000" lvl="4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○"/>
              <a:defRPr sz="1600">
                <a:solidFill>
                  <a:schemeClr val="dk2"/>
                </a:solidFill>
              </a:defRPr>
            </a:lvl5pPr>
            <a:lvl6pPr marL="2743200" lvl="5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■"/>
              <a:defRPr sz="1600">
                <a:solidFill>
                  <a:schemeClr val="dk2"/>
                </a:solidFill>
              </a:defRPr>
            </a:lvl6pPr>
            <a:lvl7pPr marL="3200400" lvl="6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●"/>
              <a:defRPr sz="1600">
                <a:solidFill>
                  <a:schemeClr val="dk2"/>
                </a:solidFill>
              </a:defRPr>
            </a:lvl7pPr>
            <a:lvl8pPr marL="3657600" lvl="7" indent="-33020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○"/>
              <a:defRPr sz="1600">
                <a:solidFill>
                  <a:schemeClr val="dk2"/>
                </a:solidFill>
              </a:defRPr>
            </a:lvl8pPr>
            <a:lvl9pPr marL="4114800" lvl="8" indent="-33020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ts val="1600"/>
              <a:buChar char="■"/>
              <a:defRPr sz="1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55" name="Google Shape;55;p26"/>
          <p:cNvSpPr txBox="1">
            <a:spLocks noGrp="1"/>
          </p:cNvSpPr>
          <p:nvPr>
            <p:ph type="title"/>
          </p:nvPr>
        </p:nvSpPr>
        <p:spPr>
          <a:xfrm>
            <a:off x="609441" y="1373200"/>
            <a:ext cx="2906543" cy="240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219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3999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9">
                <a:solidFill>
                  <a:schemeClr val="lt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9">
                <a:solidFill>
                  <a:schemeClr val="lt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9">
                <a:solidFill>
                  <a:schemeClr val="lt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9">
                <a:solidFill>
                  <a:schemeClr val="lt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9">
                <a:solidFill>
                  <a:schemeClr val="lt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9">
                <a:solidFill>
                  <a:schemeClr val="lt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9">
                <a:solidFill>
                  <a:schemeClr val="lt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199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6" name="Google Shape;56;p26"/>
          <p:cNvSpPr txBox="1">
            <a:spLocks noGrp="1"/>
          </p:cNvSpPr>
          <p:nvPr>
            <p:ph type="subTitle" idx="2"/>
          </p:nvPr>
        </p:nvSpPr>
        <p:spPr>
          <a:xfrm>
            <a:off x="609441" y="3779400"/>
            <a:ext cx="2751183" cy="246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899">
                <a:solidFill>
                  <a:schemeClr val="lt1"/>
                </a:solidFill>
              </a:defRPr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9">
                <a:solidFill>
                  <a:schemeClr val="lt1"/>
                </a:solidFill>
              </a:defRPr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9">
                <a:solidFill>
                  <a:schemeClr val="lt1"/>
                </a:solidFill>
              </a:defRPr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9">
                <a:solidFill>
                  <a:schemeClr val="lt1"/>
                </a:solidFill>
              </a:defRPr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9">
                <a:solidFill>
                  <a:schemeClr val="lt1"/>
                </a:solidFill>
              </a:defRPr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9">
                <a:solidFill>
                  <a:schemeClr val="lt1"/>
                </a:solidFill>
              </a:defRPr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9">
                <a:solidFill>
                  <a:schemeClr val="lt1"/>
                </a:solidFill>
              </a:defRPr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399">
                <a:solidFill>
                  <a:schemeClr val="lt1"/>
                </a:solidFill>
              </a:defRPr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lt1"/>
              </a:buClr>
              <a:buSzPts val="2400"/>
              <a:buNone/>
              <a:defRPr sz="2399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26"/>
          <p:cNvSpPr txBox="1">
            <a:spLocks noGrp="1"/>
          </p:cNvSpPr>
          <p:nvPr>
            <p:ph type="sldNum" idx="12"/>
          </p:nvPr>
        </p:nvSpPr>
        <p:spPr>
          <a:xfrm>
            <a:off x="11850661" y="6619200"/>
            <a:ext cx="362606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455">
          <p15:clr>
            <a:srgbClr val="FA7B17"/>
          </p15:clr>
        </p15:guide>
        <p15:guide id="2" pos="4223">
          <p15:clr>
            <a:srgbClr val="FA7B17"/>
          </p15:clr>
        </p15:guide>
        <p15:guide id="3" orient="horz" pos="3936">
          <p15:clr>
            <a:srgbClr val="FA7B17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00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SG Title Page">
  <p:cSld name="1_Title - Frontiers 3_2_1_1">
    <p:bg>
      <p:bgPr>
        <a:gradFill>
          <a:gsLst>
            <a:gs pos="0">
              <a:srgbClr val="CDF9FF"/>
            </a:gs>
            <a:gs pos="52999">
              <a:srgbClr val="F3FEFF"/>
            </a:gs>
            <a:gs pos="100000">
              <a:schemeClr val="lt1"/>
            </a:gs>
          </a:gsLst>
          <a:lin ang="13500032" scaled="0"/>
        </a:gradFill>
        <a:effectLst/>
      </p:bgPr>
    </p:bg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9"/>
          <p:cNvSpPr txBox="1">
            <a:spLocks noGrp="1"/>
          </p:cNvSpPr>
          <p:nvPr>
            <p:ph type="subTitle" idx="1"/>
          </p:nvPr>
        </p:nvSpPr>
        <p:spPr>
          <a:xfrm>
            <a:off x="633825" y="4145280"/>
            <a:ext cx="6265200" cy="78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2pPr>
            <a:lvl3pPr lvl="2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3pPr>
            <a:lvl4pPr lvl="3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4pPr>
            <a:lvl5pPr lvl="4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5pPr>
            <a:lvl6pPr lvl="5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6pPr>
            <a:lvl7pPr lvl="6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7pPr>
            <a:lvl8pPr lvl="7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8pPr>
            <a:lvl9pPr lvl="8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9"/>
          <p:cNvSpPr txBox="1">
            <a:spLocks noGrp="1"/>
          </p:cNvSpPr>
          <p:nvPr>
            <p:ph type="title"/>
          </p:nvPr>
        </p:nvSpPr>
        <p:spPr>
          <a:xfrm>
            <a:off x="633825" y="2706624"/>
            <a:ext cx="5655900" cy="13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54" name="Google Shape;54;p9"/>
          <p:cNvSpPr/>
          <p:nvPr/>
        </p:nvSpPr>
        <p:spPr>
          <a:xfrm rot="10800000">
            <a:off x="4357121" y="199"/>
            <a:ext cx="7820700" cy="3564300"/>
          </a:xfrm>
          <a:prstGeom prst="rtTriangle">
            <a:avLst/>
          </a:prstGeom>
          <a:gradFill>
            <a:gsLst>
              <a:gs pos="0">
                <a:srgbClr val="CDF9FF"/>
              </a:gs>
              <a:gs pos="52999">
                <a:srgbClr val="F3FEFF"/>
              </a:gs>
              <a:gs pos="100000">
                <a:schemeClr val="lt1"/>
              </a:gs>
            </a:gsLst>
            <a:lin ang="1350003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55;p9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pic>
        <p:nvPicPr>
          <p:cNvPr id="56" name="Google Shape;56;p9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902319" y="526733"/>
            <a:ext cx="8132769" cy="5803083"/>
          </a:xfrm>
          <a:prstGeom prst="rect">
            <a:avLst/>
          </a:prstGeom>
          <a:noFill/>
          <a:ln>
            <a:noFill/>
          </a:ln>
        </p:spPr>
      </p:pic>
      <p:pic>
        <p:nvPicPr>
          <p:cNvPr id="57" name="Google Shape;57;p9"/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841" y="609588"/>
            <a:ext cx="2309760" cy="78296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SG Final Slide">
  <p:cSld name="1_Title - Frontiers 3_2_1_1_1">
    <p:bg>
      <p:bgPr>
        <a:gradFill>
          <a:gsLst>
            <a:gs pos="0">
              <a:srgbClr val="CDF9FF"/>
            </a:gs>
            <a:gs pos="52999">
              <a:srgbClr val="F3FEFF"/>
            </a:gs>
            <a:gs pos="100000">
              <a:schemeClr val="lt1"/>
            </a:gs>
          </a:gsLst>
          <a:lin ang="13500032" scaled="0"/>
        </a:gradFill>
        <a:effectLst/>
      </p:bgPr>
    </p:bg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0"/>
          <p:cNvSpPr/>
          <p:nvPr/>
        </p:nvSpPr>
        <p:spPr>
          <a:xfrm rot="10800000">
            <a:off x="4357121" y="199"/>
            <a:ext cx="7820700" cy="3564300"/>
          </a:xfrm>
          <a:prstGeom prst="rtTriangle">
            <a:avLst/>
          </a:prstGeom>
          <a:gradFill>
            <a:gsLst>
              <a:gs pos="0">
                <a:srgbClr val="CDF9FF"/>
              </a:gs>
              <a:gs pos="52999">
                <a:srgbClr val="F3FEFF"/>
              </a:gs>
              <a:gs pos="100000">
                <a:schemeClr val="lt1"/>
              </a:gs>
            </a:gsLst>
            <a:lin ang="1350003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0" name="Google Shape;60;p10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8444" y="2742033"/>
            <a:ext cx="4052087" cy="1373589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10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C23D478F-BF4F-9329-4BD1-30EDFE1233F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ductions + Image">
  <p:cSld name="1_Title - Frontiers 3_2">
    <p:bg>
      <p:bgPr>
        <a:gradFill>
          <a:gsLst>
            <a:gs pos="0">
              <a:srgbClr val="CDF9FF"/>
            </a:gs>
            <a:gs pos="52999">
              <a:srgbClr val="F3FEFF"/>
            </a:gs>
            <a:gs pos="100000">
              <a:schemeClr val="lt1"/>
            </a:gs>
          </a:gsLst>
          <a:lin ang="13500032" scaled="0"/>
        </a:gradFill>
        <a:effectLst/>
      </p:bgPr>
    </p:bg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1"/>
          <p:cNvSpPr/>
          <p:nvPr/>
        </p:nvSpPr>
        <p:spPr>
          <a:xfrm rot="10800000">
            <a:off x="4357121" y="199"/>
            <a:ext cx="7820700" cy="3564300"/>
          </a:xfrm>
          <a:prstGeom prst="rtTriangle">
            <a:avLst/>
          </a:prstGeom>
          <a:gradFill>
            <a:gsLst>
              <a:gs pos="0">
                <a:srgbClr val="CDF9FF"/>
              </a:gs>
              <a:gs pos="52999">
                <a:srgbClr val="F3FEFF"/>
              </a:gs>
              <a:gs pos="100000">
                <a:schemeClr val="lt1"/>
              </a:gs>
            </a:gsLst>
            <a:lin ang="1350003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65;p11"/>
          <p:cNvSpPr/>
          <p:nvPr/>
        </p:nvSpPr>
        <p:spPr>
          <a:xfrm>
            <a:off x="9597898" y="457195"/>
            <a:ext cx="1905600" cy="179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20563" y="105675"/>
                </a:moveTo>
                <a:lnTo>
                  <a:pt x="27077" y="105675"/>
                </a:lnTo>
                <a:cubicBezTo>
                  <a:pt x="27108" y="105675"/>
                  <a:pt x="27140" y="105819"/>
                  <a:pt x="27158" y="106107"/>
                </a:cubicBezTo>
                <a:cubicBezTo>
                  <a:pt x="27176" y="106394"/>
                  <a:pt x="27181" y="106730"/>
                  <a:pt x="27172" y="107065"/>
                </a:cubicBezTo>
                <a:cubicBezTo>
                  <a:pt x="26954" y="114682"/>
                  <a:pt x="26274" y="119999"/>
                  <a:pt x="25522" y="119999"/>
                </a:cubicBezTo>
                <a:lnTo>
                  <a:pt x="19008" y="119999"/>
                </a:lnTo>
                <a:cubicBezTo>
                  <a:pt x="18976" y="119999"/>
                  <a:pt x="18945" y="119856"/>
                  <a:pt x="18926" y="119616"/>
                </a:cubicBezTo>
                <a:cubicBezTo>
                  <a:pt x="18908" y="119329"/>
                  <a:pt x="18904" y="118994"/>
                  <a:pt x="18913" y="118658"/>
                </a:cubicBezTo>
                <a:cubicBezTo>
                  <a:pt x="19130" y="111041"/>
                  <a:pt x="19810" y="105675"/>
                  <a:pt x="20563" y="105675"/>
                </a:cubicBezTo>
                <a:close/>
                <a:moveTo>
                  <a:pt x="21327" y="52837"/>
                </a:moveTo>
                <a:lnTo>
                  <a:pt x="27841" y="52837"/>
                </a:lnTo>
                <a:cubicBezTo>
                  <a:pt x="27873" y="52837"/>
                  <a:pt x="27900" y="53029"/>
                  <a:pt x="27919" y="53269"/>
                </a:cubicBezTo>
                <a:cubicBezTo>
                  <a:pt x="27937" y="53556"/>
                  <a:pt x="27941" y="53892"/>
                  <a:pt x="27932" y="54227"/>
                </a:cubicBezTo>
                <a:cubicBezTo>
                  <a:pt x="27715" y="61796"/>
                  <a:pt x="27039" y="67162"/>
                  <a:pt x="26282" y="67162"/>
                </a:cubicBezTo>
                <a:lnTo>
                  <a:pt x="19768" y="67162"/>
                </a:lnTo>
                <a:cubicBezTo>
                  <a:pt x="19736" y="67162"/>
                  <a:pt x="19709" y="66970"/>
                  <a:pt x="19687" y="66730"/>
                </a:cubicBezTo>
                <a:cubicBezTo>
                  <a:pt x="19673" y="66443"/>
                  <a:pt x="19664" y="66108"/>
                  <a:pt x="19673" y="65772"/>
                </a:cubicBezTo>
                <a:cubicBezTo>
                  <a:pt x="19891" y="58203"/>
                  <a:pt x="20570" y="52837"/>
                  <a:pt x="21327" y="52837"/>
                </a:cubicBezTo>
                <a:close/>
                <a:moveTo>
                  <a:pt x="60050" y="14273"/>
                </a:moveTo>
                <a:cubicBezTo>
                  <a:pt x="59860" y="14273"/>
                  <a:pt x="59705" y="15901"/>
                  <a:pt x="59701" y="17961"/>
                </a:cubicBezTo>
                <a:lnTo>
                  <a:pt x="59701" y="64085"/>
                </a:lnTo>
                <a:lnTo>
                  <a:pt x="62365" y="64085"/>
                </a:lnTo>
                <a:cubicBezTo>
                  <a:pt x="64145" y="64085"/>
                  <a:pt x="65343" y="54122"/>
                  <a:pt x="65343" y="39227"/>
                </a:cubicBezTo>
                <a:lnTo>
                  <a:pt x="65343" y="38891"/>
                </a:lnTo>
                <a:cubicBezTo>
                  <a:pt x="65343" y="23229"/>
                  <a:pt x="64281" y="14273"/>
                  <a:pt x="62434" y="14273"/>
                </a:cubicBezTo>
                <a:close/>
                <a:moveTo>
                  <a:pt x="1846" y="14225"/>
                </a:moveTo>
                <a:cubicBezTo>
                  <a:pt x="1623" y="14225"/>
                  <a:pt x="1447" y="16141"/>
                  <a:pt x="1447" y="18488"/>
                </a:cubicBezTo>
                <a:lnTo>
                  <a:pt x="1447" y="105515"/>
                </a:lnTo>
                <a:lnTo>
                  <a:pt x="3969" y="105515"/>
                </a:lnTo>
                <a:cubicBezTo>
                  <a:pt x="6636" y="105515"/>
                  <a:pt x="8505" y="86883"/>
                  <a:pt x="8505" y="60205"/>
                </a:cubicBezTo>
                <a:lnTo>
                  <a:pt x="8505" y="59918"/>
                </a:lnTo>
                <a:cubicBezTo>
                  <a:pt x="8505" y="33048"/>
                  <a:pt x="6640" y="14225"/>
                  <a:pt x="3973" y="14225"/>
                </a:cubicBezTo>
                <a:close/>
                <a:moveTo>
                  <a:pt x="109963" y="0"/>
                </a:moveTo>
                <a:lnTo>
                  <a:pt x="110784" y="0"/>
                </a:lnTo>
                <a:cubicBezTo>
                  <a:pt x="111229" y="0"/>
                  <a:pt x="111651" y="2203"/>
                  <a:pt x="111914" y="5987"/>
                </a:cubicBezTo>
                <a:lnTo>
                  <a:pt x="114855" y="47848"/>
                </a:lnTo>
                <a:lnTo>
                  <a:pt x="117801" y="5987"/>
                </a:lnTo>
                <a:cubicBezTo>
                  <a:pt x="118068" y="2203"/>
                  <a:pt x="118490" y="0"/>
                  <a:pt x="118935" y="0"/>
                </a:cubicBezTo>
                <a:lnTo>
                  <a:pt x="119743" y="0"/>
                </a:lnTo>
                <a:cubicBezTo>
                  <a:pt x="119779" y="0"/>
                  <a:pt x="119811" y="191"/>
                  <a:pt x="119829" y="526"/>
                </a:cubicBezTo>
                <a:cubicBezTo>
                  <a:pt x="119843" y="862"/>
                  <a:pt x="119843" y="1245"/>
                  <a:pt x="119820" y="1580"/>
                </a:cubicBezTo>
                <a:lnTo>
                  <a:pt x="115745" y="58768"/>
                </a:lnTo>
                <a:lnTo>
                  <a:pt x="119979" y="118208"/>
                </a:lnTo>
                <a:cubicBezTo>
                  <a:pt x="120002" y="118543"/>
                  <a:pt x="120002" y="118926"/>
                  <a:pt x="119997" y="119261"/>
                </a:cubicBezTo>
                <a:cubicBezTo>
                  <a:pt x="119979" y="119597"/>
                  <a:pt x="119947" y="119788"/>
                  <a:pt x="119911" y="119788"/>
                </a:cubicBezTo>
                <a:lnTo>
                  <a:pt x="119071" y="119788"/>
                </a:lnTo>
                <a:cubicBezTo>
                  <a:pt x="118627" y="119788"/>
                  <a:pt x="118204" y="117585"/>
                  <a:pt x="117937" y="113801"/>
                </a:cubicBezTo>
                <a:lnTo>
                  <a:pt x="114832" y="69593"/>
                </a:lnTo>
                <a:lnTo>
                  <a:pt x="111728" y="113801"/>
                </a:lnTo>
                <a:cubicBezTo>
                  <a:pt x="111465" y="117585"/>
                  <a:pt x="111043" y="119788"/>
                  <a:pt x="110593" y="119788"/>
                </a:cubicBezTo>
                <a:lnTo>
                  <a:pt x="109804" y="119788"/>
                </a:lnTo>
                <a:cubicBezTo>
                  <a:pt x="109767" y="119788"/>
                  <a:pt x="109736" y="119597"/>
                  <a:pt x="109722" y="119261"/>
                </a:cubicBezTo>
                <a:cubicBezTo>
                  <a:pt x="109704" y="118926"/>
                  <a:pt x="109704" y="118543"/>
                  <a:pt x="109727" y="118208"/>
                </a:cubicBezTo>
                <a:lnTo>
                  <a:pt x="113961" y="58768"/>
                </a:lnTo>
                <a:lnTo>
                  <a:pt x="109885" y="1580"/>
                </a:lnTo>
                <a:cubicBezTo>
                  <a:pt x="109863" y="1245"/>
                  <a:pt x="109858" y="862"/>
                  <a:pt x="109876" y="526"/>
                </a:cubicBezTo>
                <a:cubicBezTo>
                  <a:pt x="109895" y="191"/>
                  <a:pt x="109926" y="0"/>
                  <a:pt x="109963" y="0"/>
                </a:cubicBezTo>
                <a:close/>
                <a:moveTo>
                  <a:pt x="98360" y="0"/>
                </a:moveTo>
                <a:lnTo>
                  <a:pt x="99402" y="0"/>
                </a:lnTo>
                <a:cubicBezTo>
                  <a:pt x="99456" y="0"/>
                  <a:pt x="99497" y="431"/>
                  <a:pt x="99497" y="957"/>
                </a:cubicBezTo>
                <a:lnTo>
                  <a:pt x="99497" y="106569"/>
                </a:lnTo>
                <a:lnTo>
                  <a:pt x="99497" y="116435"/>
                </a:lnTo>
                <a:cubicBezTo>
                  <a:pt x="99497" y="118256"/>
                  <a:pt x="99352" y="119740"/>
                  <a:pt x="99179" y="119740"/>
                </a:cubicBezTo>
                <a:lnTo>
                  <a:pt x="98160" y="119740"/>
                </a:lnTo>
                <a:cubicBezTo>
                  <a:pt x="98151" y="119788"/>
                  <a:pt x="98146" y="119788"/>
                  <a:pt x="98137" y="119788"/>
                </a:cubicBezTo>
                <a:cubicBezTo>
                  <a:pt x="98128" y="119788"/>
                  <a:pt x="98114" y="119788"/>
                  <a:pt x="98105" y="119740"/>
                </a:cubicBezTo>
                <a:cubicBezTo>
                  <a:pt x="98069" y="119549"/>
                  <a:pt x="98041" y="119261"/>
                  <a:pt x="98041" y="118830"/>
                </a:cubicBezTo>
                <a:lnTo>
                  <a:pt x="98041" y="3304"/>
                </a:lnTo>
                <a:cubicBezTo>
                  <a:pt x="98041" y="1484"/>
                  <a:pt x="98187" y="0"/>
                  <a:pt x="98360" y="0"/>
                </a:cubicBezTo>
                <a:close/>
                <a:moveTo>
                  <a:pt x="77230" y="0"/>
                </a:moveTo>
                <a:lnTo>
                  <a:pt x="78268" y="0"/>
                </a:lnTo>
                <a:cubicBezTo>
                  <a:pt x="78323" y="0"/>
                  <a:pt x="78363" y="431"/>
                  <a:pt x="78363" y="957"/>
                </a:cubicBezTo>
                <a:lnTo>
                  <a:pt x="78363" y="52398"/>
                </a:lnTo>
                <a:lnTo>
                  <a:pt x="84623" y="52398"/>
                </a:lnTo>
                <a:lnTo>
                  <a:pt x="84623" y="3304"/>
                </a:lnTo>
                <a:cubicBezTo>
                  <a:pt x="84623" y="1484"/>
                  <a:pt x="84768" y="0"/>
                  <a:pt x="84940" y="0"/>
                </a:cubicBezTo>
                <a:lnTo>
                  <a:pt x="85979" y="0"/>
                </a:lnTo>
                <a:cubicBezTo>
                  <a:pt x="86029" y="0"/>
                  <a:pt x="86074" y="431"/>
                  <a:pt x="86074" y="957"/>
                </a:cubicBezTo>
                <a:lnTo>
                  <a:pt x="86074" y="116483"/>
                </a:lnTo>
                <a:cubicBezTo>
                  <a:pt x="86074" y="118303"/>
                  <a:pt x="85929" y="119788"/>
                  <a:pt x="85757" y="119788"/>
                </a:cubicBezTo>
                <a:lnTo>
                  <a:pt x="84718" y="119788"/>
                </a:lnTo>
                <a:cubicBezTo>
                  <a:pt x="84668" y="119788"/>
                  <a:pt x="84623" y="119357"/>
                  <a:pt x="84623" y="118830"/>
                </a:cubicBezTo>
                <a:lnTo>
                  <a:pt x="84623" y="66815"/>
                </a:lnTo>
                <a:lnTo>
                  <a:pt x="78363" y="66815"/>
                </a:lnTo>
                <a:lnTo>
                  <a:pt x="78363" y="116435"/>
                </a:lnTo>
                <a:cubicBezTo>
                  <a:pt x="78363" y="118303"/>
                  <a:pt x="78223" y="119788"/>
                  <a:pt x="78051" y="119788"/>
                </a:cubicBezTo>
                <a:lnTo>
                  <a:pt x="77012" y="119788"/>
                </a:lnTo>
                <a:cubicBezTo>
                  <a:pt x="76957" y="119788"/>
                  <a:pt x="76917" y="119309"/>
                  <a:pt x="76917" y="118783"/>
                </a:cubicBezTo>
                <a:lnTo>
                  <a:pt x="76917" y="3304"/>
                </a:lnTo>
                <a:cubicBezTo>
                  <a:pt x="76917" y="1484"/>
                  <a:pt x="77057" y="0"/>
                  <a:pt x="77230" y="0"/>
                </a:cubicBezTo>
                <a:close/>
                <a:moveTo>
                  <a:pt x="59664" y="0"/>
                </a:moveTo>
                <a:lnTo>
                  <a:pt x="62529" y="0"/>
                </a:lnTo>
                <a:cubicBezTo>
                  <a:pt x="65130" y="0"/>
                  <a:pt x="66810" y="15039"/>
                  <a:pt x="66810" y="38412"/>
                </a:cubicBezTo>
                <a:lnTo>
                  <a:pt x="66810" y="38748"/>
                </a:lnTo>
                <a:cubicBezTo>
                  <a:pt x="66810" y="66001"/>
                  <a:pt x="64676" y="78262"/>
                  <a:pt x="62134" y="78262"/>
                </a:cubicBezTo>
                <a:lnTo>
                  <a:pt x="59705" y="78262"/>
                </a:lnTo>
                <a:lnTo>
                  <a:pt x="59705" y="116483"/>
                </a:lnTo>
                <a:cubicBezTo>
                  <a:pt x="59705" y="118303"/>
                  <a:pt x="59564" y="119788"/>
                  <a:pt x="59392" y="119788"/>
                </a:cubicBezTo>
                <a:lnTo>
                  <a:pt x="58348" y="119788"/>
                </a:lnTo>
                <a:cubicBezTo>
                  <a:pt x="58298" y="119788"/>
                  <a:pt x="58252" y="119357"/>
                  <a:pt x="58252" y="118830"/>
                </a:cubicBezTo>
                <a:lnTo>
                  <a:pt x="58252" y="14895"/>
                </a:lnTo>
                <a:cubicBezTo>
                  <a:pt x="58252" y="6705"/>
                  <a:pt x="58888" y="0"/>
                  <a:pt x="59664" y="0"/>
                </a:cubicBezTo>
                <a:close/>
                <a:moveTo>
                  <a:pt x="40088" y="0"/>
                </a:moveTo>
                <a:lnTo>
                  <a:pt x="41108" y="0"/>
                </a:lnTo>
                <a:cubicBezTo>
                  <a:pt x="41158" y="0"/>
                  <a:pt x="41199" y="383"/>
                  <a:pt x="41199" y="910"/>
                </a:cubicBezTo>
                <a:lnTo>
                  <a:pt x="41199" y="105563"/>
                </a:lnTo>
                <a:lnTo>
                  <a:pt x="47895" y="105563"/>
                </a:lnTo>
                <a:cubicBezTo>
                  <a:pt x="47945" y="105563"/>
                  <a:pt x="47986" y="105994"/>
                  <a:pt x="47986" y="106521"/>
                </a:cubicBezTo>
                <a:lnTo>
                  <a:pt x="47986" y="116675"/>
                </a:lnTo>
                <a:cubicBezTo>
                  <a:pt x="47986" y="118399"/>
                  <a:pt x="47854" y="119788"/>
                  <a:pt x="47691" y="119788"/>
                </a:cubicBezTo>
                <a:lnTo>
                  <a:pt x="40465" y="119788"/>
                </a:lnTo>
                <a:cubicBezTo>
                  <a:pt x="40070" y="119788"/>
                  <a:pt x="39748" y="116435"/>
                  <a:pt x="39748" y="112221"/>
                </a:cubicBezTo>
                <a:lnTo>
                  <a:pt x="39748" y="3592"/>
                </a:lnTo>
                <a:cubicBezTo>
                  <a:pt x="39748" y="1580"/>
                  <a:pt x="39902" y="0"/>
                  <a:pt x="40088" y="0"/>
                </a:cubicBezTo>
                <a:close/>
                <a:moveTo>
                  <a:pt x="21883" y="0"/>
                </a:moveTo>
                <a:lnTo>
                  <a:pt x="28397" y="0"/>
                </a:lnTo>
                <a:cubicBezTo>
                  <a:pt x="28429" y="0"/>
                  <a:pt x="28456" y="143"/>
                  <a:pt x="28479" y="383"/>
                </a:cubicBezTo>
                <a:cubicBezTo>
                  <a:pt x="28497" y="670"/>
                  <a:pt x="28501" y="1006"/>
                  <a:pt x="28492" y="1341"/>
                </a:cubicBezTo>
                <a:cubicBezTo>
                  <a:pt x="28275" y="8958"/>
                  <a:pt x="27595" y="14324"/>
                  <a:pt x="26842" y="14324"/>
                </a:cubicBezTo>
                <a:lnTo>
                  <a:pt x="20324" y="14324"/>
                </a:lnTo>
                <a:cubicBezTo>
                  <a:pt x="20297" y="14324"/>
                  <a:pt x="20265" y="14180"/>
                  <a:pt x="20247" y="13892"/>
                </a:cubicBezTo>
                <a:cubicBezTo>
                  <a:pt x="20229" y="13605"/>
                  <a:pt x="20224" y="13270"/>
                  <a:pt x="20233" y="12934"/>
                </a:cubicBezTo>
                <a:cubicBezTo>
                  <a:pt x="20451" y="5317"/>
                  <a:pt x="21131" y="0"/>
                  <a:pt x="21883" y="0"/>
                </a:cubicBezTo>
                <a:close/>
                <a:moveTo>
                  <a:pt x="1410" y="0"/>
                </a:moveTo>
                <a:lnTo>
                  <a:pt x="3973" y="0"/>
                </a:lnTo>
                <a:cubicBezTo>
                  <a:pt x="7461" y="0"/>
                  <a:pt x="9997" y="25049"/>
                  <a:pt x="9997" y="59583"/>
                </a:cubicBezTo>
                <a:lnTo>
                  <a:pt x="9997" y="59918"/>
                </a:lnTo>
                <a:cubicBezTo>
                  <a:pt x="9997" y="94595"/>
                  <a:pt x="7461" y="119788"/>
                  <a:pt x="3973" y="119788"/>
                </a:cubicBezTo>
                <a:lnTo>
                  <a:pt x="1410" y="119788"/>
                </a:lnTo>
                <a:cubicBezTo>
                  <a:pt x="630" y="119788"/>
                  <a:pt x="0" y="113131"/>
                  <a:pt x="0" y="104893"/>
                </a:cubicBezTo>
                <a:lnTo>
                  <a:pt x="0" y="14895"/>
                </a:lnTo>
                <a:cubicBezTo>
                  <a:pt x="0" y="6657"/>
                  <a:pt x="630" y="0"/>
                  <a:pt x="141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900" b="0" i="0" u="none" strike="noStrike" cap="none" dirty="0">
              <a:solidFill>
                <a:schemeClr val="accen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6" name="Google Shape;66;p11"/>
          <p:cNvSpPr>
            <a:spLocks noGrp="1"/>
          </p:cNvSpPr>
          <p:nvPr>
            <p:ph type="pic" idx="2"/>
          </p:nvPr>
        </p:nvSpPr>
        <p:spPr>
          <a:xfrm>
            <a:off x="6414800" y="1805200"/>
            <a:ext cx="5161200" cy="42612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67" name="Google Shape;67;p11"/>
          <p:cNvSpPr txBox="1">
            <a:spLocks noGrp="1"/>
          </p:cNvSpPr>
          <p:nvPr>
            <p:ph type="title"/>
          </p:nvPr>
        </p:nvSpPr>
        <p:spPr>
          <a:xfrm>
            <a:off x="609440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68" name="Google Shape;68;p11"/>
          <p:cNvSpPr txBox="1">
            <a:spLocks noGrp="1"/>
          </p:cNvSpPr>
          <p:nvPr>
            <p:ph type="subTitle" idx="1"/>
          </p:nvPr>
        </p:nvSpPr>
        <p:spPr>
          <a:xfrm>
            <a:off x="609440" y="1219200"/>
            <a:ext cx="109692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sp>
        <p:nvSpPr>
          <p:cNvPr id="69" name="Google Shape;69;p11"/>
          <p:cNvSpPr txBox="1">
            <a:spLocks noGrp="1"/>
          </p:cNvSpPr>
          <p:nvPr>
            <p:ph type="body" idx="3"/>
          </p:nvPr>
        </p:nvSpPr>
        <p:spPr>
          <a:xfrm>
            <a:off x="609440" y="1805200"/>
            <a:ext cx="5805300" cy="380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11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1pPr>
            <a:lvl2pPr marL="914400" lvl="1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5pPr>
            <a:lvl6pPr marL="2743200" lvl="5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■"/>
              <a:defRPr sz="1300"/>
            </a:lvl6pPr>
            <a:lvl7pPr marL="3200400" lvl="6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●"/>
              <a:defRPr sz="1300"/>
            </a:lvl7pPr>
            <a:lvl8pPr marL="3657600" lvl="7" indent="-311150" algn="l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l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Char char="■"/>
              <a:defRPr sz="1300"/>
            </a:lvl9pPr>
          </a:lstStyle>
          <a:p>
            <a:endParaRPr/>
          </a:p>
        </p:txBody>
      </p:sp>
      <p:sp>
        <p:nvSpPr>
          <p:cNvPr id="70" name="Google Shape;70;p11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71" name="Google Shape;71;p11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ppendix 2">
  <p:cSld name="CUSTOM_4_1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2"/>
          <p:cNvSpPr txBox="1">
            <a:spLocks noGrp="1"/>
          </p:cNvSpPr>
          <p:nvPr>
            <p:ph type="body" idx="1"/>
          </p:nvPr>
        </p:nvSpPr>
        <p:spPr>
          <a:xfrm>
            <a:off x="2164625" y="1219200"/>
            <a:ext cx="9414900" cy="50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43800" tIns="121875" rIns="121875" bIns="121875" anchor="t" anchorCtr="0">
            <a:noAutofit/>
          </a:bodyPr>
          <a:lstStyle>
            <a:lvl1pPr marL="457200" lvl="0" indent="-3302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600"/>
            </a:lvl1pPr>
            <a:lvl2pPr marL="914400" lvl="1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  <a:defRPr sz="1600"/>
            </a:lvl2pPr>
            <a:lvl3pPr marL="1371600" lvl="2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■"/>
              <a:defRPr sz="1600"/>
            </a:lvl3pPr>
            <a:lvl4pPr marL="1828800" lvl="3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●"/>
              <a:defRPr sz="1600"/>
            </a:lvl4pPr>
            <a:lvl5pPr marL="2286000" lvl="4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  <a:defRPr sz="1600"/>
            </a:lvl5pPr>
            <a:lvl6pPr marL="2743200" lvl="5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■"/>
              <a:defRPr sz="1600"/>
            </a:lvl6pPr>
            <a:lvl7pPr marL="3200400" lvl="6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74" name="Google Shape;74;p12"/>
          <p:cNvSpPr txBox="1">
            <a:spLocks noGrp="1"/>
          </p:cNvSpPr>
          <p:nvPr>
            <p:ph type="title"/>
          </p:nvPr>
        </p:nvSpPr>
        <p:spPr>
          <a:xfrm>
            <a:off x="628727" y="609600"/>
            <a:ext cx="109692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None/>
              <a:defRPr sz="32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75" name="Google Shape;75;p12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76" name="Google Shape;76;p12"/>
          <p:cNvSpPr/>
          <p:nvPr/>
        </p:nvSpPr>
        <p:spPr>
          <a:xfrm>
            <a:off x="8006997" y="6421075"/>
            <a:ext cx="3572400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7">
          <p15:clr>
            <a:srgbClr val="FA7B17"/>
          </p15:clr>
        </p15:guide>
        <p15:guide id="2" orient="horz" pos="3936">
          <p15:clr>
            <a:srgbClr val="FA7B17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ppendix - Image Only">
  <p:cSld name="1_Title - Frontiers 4_1_1_1">
    <p:bg>
      <p:bgPr>
        <a:gradFill>
          <a:gsLst>
            <a:gs pos="0">
              <a:srgbClr val="CDF9FF"/>
            </a:gs>
            <a:gs pos="52999">
              <a:srgbClr val="F3FEFF"/>
            </a:gs>
            <a:gs pos="100000">
              <a:srgbClr val="FFFFFF"/>
            </a:gs>
          </a:gsLst>
          <a:lin ang="18900044" scaled="0"/>
        </a:gradFill>
        <a:effectLst/>
      </p:bgPr>
    </p:bg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3"/>
          <p:cNvSpPr>
            <a:spLocks noGrp="1"/>
          </p:cNvSpPr>
          <p:nvPr>
            <p:ph type="pic" idx="2"/>
          </p:nvPr>
        </p:nvSpPr>
        <p:spPr>
          <a:xfrm>
            <a:off x="3892559" y="-7633"/>
            <a:ext cx="8306400" cy="68580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9" name="Google Shape;79;p13"/>
          <p:cNvSpPr txBox="1">
            <a:spLocks noGrp="1"/>
          </p:cNvSpPr>
          <p:nvPr>
            <p:ph type="title"/>
          </p:nvPr>
        </p:nvSpPr>
        <p:spPr>
          <a:xfrm>
            <a:off x="118842" y="-12168"/>
            <a:ext cx="36567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8100019" scaled="0"/>
          </a:gradFill>
          <a:ln>
            <a:noFill/>
          </a:ln>
          <a:effectLst>
            <a:outerShdw blurRad="271463" dist="19050" dir="5400000" algn="bl" rotWithShape="0">
              <a:srgbClr val="000000">
                <a:alpha val="8627"/>
              </a:srgbClr>
            </a:outerShdw>
          </a:effectLst>
        </p:spPr>
        <p:txBody>
          <a:bodyPr spcFirstLastPara="1" wrap="square" lIns="457125" tIns="91425" rIns="4571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None/>
              <a:defRPr sz="43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80" name="Google Shape;80;p13"/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7678">
          <p15:clr>
            <a:srgbClr val="FA7B17"/>
          </p15:clr>
        </p15:guide>
        <p15:guide id="2">
          <p15:clr>
            <a:srgbClr val="FA7B17"/>
          </p15:clr>
        </p15:guide>
        <p15:guide id="3" pos="2736">
          <p15:clr>
            <a:srgbClr val="FA7B17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" type="title">
  <p:cSld name="TITLE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4"/>
          <p:cNvSpPr/>
          <p:nvPr/>
        </p:nvSpPr>
        <p:spPr>
          <a:xfrm rot="10800000">
            <a:off x="4357121" y="199"/>
            <a:ext cx="7820700" cy="3564300"/>
          </a:xfrm>
          <a:prstGeom prst="rtTriangle">
            <a:avLst/>
          </a:prstGeom>
          <a:gradFill>
            <a:gsLst>
              <a:gs pos="0">
                <a:srgbClr val="CDF9FF"/>
              </a:gs>
              <a:gs pos="52999">
                <a:srgbClr val="F3FEFF"/>
              </a:gs>
              <a:gs pos="100000">
                <a:schemeClr val="lt1"/>
              </a:gs>
            </a:gsLst>
            <a:lin ang="8100019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83;p14"/>
          <p:cNvSpPr txBox="1">
            <a:spLocks noGrp="1"/>
          </p:cNvSpPr>
          <p:nvPr>
            <p:ph type="title"/>
          </p:nvPr>
        </p:nvSpPr>
        <p:spPr>
          <a:xfrm>
            <a:off x="609447" y="2775800"/>
            <a:ext cx="10970100" cy="8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84" name="Google Shape;84;p14"/>
          <p:cNvSpPr txBox="1">
            <a:spLocks noGrp="1"/>
          </p:cNvSpPr>
          <p:nvPr>
            <p:ph type="subTitle" idx="1"/>
          </p:nvPr>
        </p:nvSpPr>
        <p:spPr>
          <a:xfrm>
            <a:off x="609447" y="3598587"/>
            <a:ext cx="10970100" cy="48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None/>
              <a:defRPr sz="1900">
                <a:solidFill>
                  <a:srgbClr val="000000"/>
                </a:solidFill>
              </a:defRPr>
            </a:lvl1pPr>
            <a:lvl2pPr lvl="1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2pPr>
            <a:lvl3pPr lvl="2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3pPr>
            <a:lvl4pPr lvl="3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4pPr>
            <a:lvl5pPr lvl="4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5pPr>
            <a:lvl6pPr lvl="5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6pPr>
            <a:lvl7pPr lvl="6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7pPr>
            <a:lvl8pPr lvl="7" algn="ctr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SzPts val="1300"/>
              <a:buNone/>
              <a:defRPr/>
            </a:lvl8pPr>
            <a:lvl9pPr lvl="8" algn="ctr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EC4A1EEC-FF54-3171-5485-86FE41741C6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gradFill>
          <a:gsLst>
            <a:gs pos="0">
              <a:srgbClr val="EAFCFF"/>
            </a:gs>
            <a:gs pos="25000">
              <a:srgbClr val="F0FDFF"/>
            </a:gs>
            <a:gs pos="73000">
              <a:schemeClr val="lt1"/>
            </a:gs>
            <a:gs pos="100000">
              <a:schemeClr val="lt1"/>
            </a:gs>
          </a:gsLst>
          <a:lin ang="8099331" scaled="0"/>
        </a:gra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09447" y="609600"/>
            <a:ext cx="10947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09447" y="1373200"/>
            <a:ext cx="5595300" cy="50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1150" algn="l" rtl="0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EC847013-41D0-46DB-5ACF-41925782923B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897" r:id="rId9"/>
    <p:sldLayoutId id="2147483898" r:id="rId10"/>
    <p:sldLayoutId id="2147484210" r:id="rId11"/>
    <p:sldLayoutId id="2147484206" r:id="rId12"/>
    <p:sldLayoutId id="2147483664" r:id="rId13"/>
    <p:sldLayoutId id="2147483666" r:id="rId14"/>
    <p:sldLayoutId id="2147483667" r:id="rId15"/>
    <p:sldLayoutId id="2147483668" r:id="rId16"/>
    <p:sldLayoutId id="2147483670" r:id="rId17"/>
    <p:sldLayoutId id="2147483671" r:id="rId18"/>
    <p:sldLayoutId id="2147483672" r:id="rId19"/>
    <p:sldLayoutId id="2147483673" r:id="rId20"/>
    <p:sldLayoutId id="2147483674" r:id="rId21"/>
    <p:sldLayoutId id="2147483675" r:id="rId22"/>
    <p:sldLayoutId id="2147483676" r:id="rId23"/>
    <p:sldLayoutId id="2147483677" r:id="rId24"/>
    <p:sldLayoutId id="2147483678" r:id="rId25"/>
    <p:sldLayoutId id="2147483679" r:id="rId26"/>
    <p:sldLayoutId id="2147483680" r:id="rId27"/>
    <p:sldLayoutId id="2147483681" r:id="rId28"/>
    <p:sldLayoutId id="2147483682" r:id="rId29"/>
    <p:sldLayoutId id="2147483683" r:id="rId3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EA4335"/>
          </p15:clr>
        </p15:guide>
        <p15:guide id="2" pos="7294">
          <p15:clr>
            <a:srgbClr val="EA4335"/>
          </p15:clr>
        </p15:guide>
        <p15:guide id="3" orient="horz" pos="384">
          <p15:clr>
            <a:srgbClr val="EA4335"/>
          </p15:clr>
        </p15:guide>
        <p15:guide id="4" orient="horz" pos="865">
          <p15:clr>
            <a:srgbClr val="EA4335"/>
          </p15:clr>
        </p15:guide>
        <p15:guide id="5" orient="horz" pos="4069">
          <p15:clr>
            <a:srgbClr val="EA4335"/>
          </p15:clr>
        </p15:guide>
        <p15:guide id="6" orient="horz" pos="768">
          <p15:clr>
            <a:srgbClr val="EA4335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gradFill>
          <a:gsLst>
            <a:gs pos="0">
              <a:srgbClr val="EAFCFF"/>
            </a:gs>
            <a:gs pos="25000">
              <a:srgbClr val="F0FDFF"/>
            </a:gs>
            <a:gs pos="73000">
              <a:schemeClr val="lt1"/>
            </a:gs>
            <a:gs pos="100000">
              <a:schemeClr val="lt1"/>
            </a:gs>
          </a:gsLst>
          <a:lin ang="8099331" scaled="0"/>
        </a:gradFill>
        <a:effectLst/>
      </p:bgPr>
    </p:bg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31"/>
          <p:cNvSpPr txBox="1">
            <a:spLocks noGrp="1"/>
          </p:cNvSpPr>
          <p:nvPr>
            <p:ph type="title"/>
          </p:nvPr>
        </p:nvSpPr>
        <p:spPr>
          <a:xfrm>
            <a:off x="609441" y="609600"/>
            <a:ext cx="10947448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Google Shape;22;p31"/>
          <p:cNvSpPr txBox="1">
            <a:spLocks noGrp="1"/>
          </p:cNvSpPr>
          <p:nvPr>
            <p:ph type="body" idx="1"/>
          </p:nvPr>
        </p:nvSpPr>
        <p:spPr>
          <a:xfrm>
            <a:off x="609441" y="1373200"/>
            <a:ext cx="5595343" cy="50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1150" algn="l" rtl="0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" name="Google Shape;23;p31"/>
          <p:cNvSpPr txBox="1">
            <a:spLocks noGrp="1"/>
          </p:cNvSpPr>
          <p:nvPr>
            <p:ph type="sldNum" idx="12"/>
          </p:nvPr>
        </p:nvSpPr>
        <p:spPr>
          <a:xfrm>
            <a:off x="11850661" y="6619200"/>
            <a:ext cx="362606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dirty="0"/>
          </a:p>
        </p:txBody>
      </p:sp>
      <p:sp>
        <p:nvSpPr>
          <p:cNvPr id="2" name="Google Shape;250;g214f726e73c_0_4237">
            <a:extLst>
              <a:ext uri="{FF2B5EF4-FFF2-40B4-BE49-F238E27FC236}">
                <a16:creationId xmlns:a16="http://schemas.microsoft.com/office/drawing/2014/main" id="{7A6A02A9-5209-A4D0-64B5-91D06F8BABA0}"/>
              </a:ext>
            </a:extLst>
          </p:cNvPr>
          <p:cNvSpPr/>
          <p:nvPr userDrawn="1"/>
        </p:nvSpPr>
        <p:spPr>
          <a:xfrm>
            <a:off x="8357819" y="6344876"/>
            <a:ext cx="3221461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193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 userDrawn="1">
          <p15:clr>
            <a:srgbClr val="EA4335"/>
          </p15:clr>
        </p15:guide>
        <p15:guide id="2" pos="7294" userDrawn="1">
          <p15:clr>
            <a:srgbClr val="EA4335"/>
          </p15:clr>
        </p15:guide>
        <p15:guide id="3" orient="horz" pos="384" userDrawn="1">
          <p15:clr>
            <a:srgbClr val="EA4335"/>
          </p15:clr>
        </p15:guide>
        <p15:guide id="4" orient="horz" pos="865" userDrawn="1">
          <p15:clr>
            <a:srgbClr val="EA4335"/>
          </p15:clr>
        </p15:guide>
        <p15:guide id="5" orient="horz" pos="4069" userDrawn="1">
          <p15:clr>
            <a:srgbClr val="EA4335"/>
          </p15:clr>
        </p15:guide>
        <p15:guide id="6" orient="horz" pos="768" userDrawn="1">
          <p15:clr>
            <a:srgbClr val="EA4335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778" y="402587"/>
            <a:ext cx="1124927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778" y="1665290"/>
            <a:ext cx="1124927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07982" y="6477001"/>
            <a:ext cx="30789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3" name="Google Shape;250;g214f726e73c_0_4237">
            <a:extLst>
              <a:ext uri="{FF2B5EF4-FFF2-40B4-BE49-F238E27FC236}">
                <a16:creationId xmlns:a16="http://schemas.microsoft.com/office/drawing/2014/main" id="{2BFD13B4-D5F6-D61F-E03D-1975AC2B5B68}"/>
              </a:ext>
            </a:extLst>
          </p:cNvPr>
          <p:cNvSpPr/>
          <p:nvPr userDrawn="1"/>
        </p:nvSpPr>
        <p:spPr>
          <a:xfrm>
            <a:off x="8357819" y="6344876"/>
            <a:ext cx="3221461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4991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i="0" kern="1200">
          <a:solidFill>
            <a:schemeClr val="tx1"/>
          </a:solidFill>
          <a:latin typeface="Open Sans SemiBold" panose="020B0606030504020204" pitchFamily="34" charset="0"/>
          <a:ea typeface="Open Sans SemiBold" panose="020B0606030504020204" pitchFamily="34" charset="0"/>
          <a:cs typeface="Open Sans SemiBold" panose="020B060603050402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7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2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5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0" userDrawn="1">
          <p15:clr>
            <a:srgbClr val="F26B43"/>
          </p15:clr>
        </p15:guide>
        <p15:guide id="15" pos="2694" userDrawn="1">
          <p15:clr>
            <a:srgbClr val="F26B43"/>
          </p15:clr>
        </p15:guide>
        <p15:guide id="16" pos="6183" userDrawn="1">
          <p15:clr>
            <a:srgbClr val="F26B43"/>
          </p15:clr>
        </p15:guide>
        <p15:guide id="17" pos="3782" userDrawn="1">
          <p15:clr>
            <a:srgbClr val="F26B43"/>
          </p15:clr>
        </p15:guide>
        <p15:guide id="18" pos="3895" userDrawn="1">
          <p15:clr>
            <a:srgbClr val="F26B43"/>
          </p15:clr>
        </p15:guide>
        <p15:guide id="19" pos="3839" userDrawn="1">
          <p15:clr>
            <a:srgbClr val="F26B43"/>
          </p15:clr>
        </p15:guide>
        <p15:guide id="20" pos="6297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778" y="402587"/>
            <a:ext cx="1124927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778" y="1665290"/>
            <a:ext cx="1124927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07982" y="6477001"/>
            <a:ext cx="30789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3" name="Google Shape;250;g214f726e73c_0_4237">
            <a:extLst>
              <a:ext uri="{FF2B5EF4-FFF2-40B4-BE49-F238E27FC236}">
                <a16:creationId xmlns:a16="http://schemas.microsoft.com/office/drawing/2014/main" id="{1C68BB9A-99F8-15F8-FC8B-97B207212D4E}"/>
              </a:ext>
            </a:extLst>
          </p:cNvPr>
          <p:cNvSpPr/>
          <p:nvPr userDrawn="1"/>
        </p:nvSpPr>
        <p:spPr>
          <a:xfrm>
            <a:off x="8357820" y="6344877"/>
            <a:ext cx="3221461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4991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7" r:id="rId1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i="0" kern="1200">
          <a:solidFill>
            <a:schemeClr val="tx1"/>
          </a:solidFill>
          <a:latin typeface="Open Sans SemiBold" panose="020B0606030504020204" pitchFamily="34" charset="0"/>
          <a:ea typeface="Open Sans SemiBold" panose="020B0606030504020204" pitchFamily="34" charset="0"/>
          <a:cs typeface="Open Sans SemiBold" panose="020B060603050402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7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2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5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0" userDrawn="1">
          <p15:clr>
            <a:srgbClr val="F26B43"/>
          </p15:clr>
        </p15:guide>
        <p15:guide id="15" pos="2694" userDrawn="1">
          <p15:clr>
            <a:srgbClr val="F26B43"/>
          </p15:clr>
        </p15:guide>
        <p15:guide id="16" pos="6183" userDrawn="1">
          <p15:clr>
            <a:srgbClr val="F26B43"/>
          </p15:clr>
        </p15:guide>
        <p15:guide id="17" pos="3782" userDrawn="1">
          <p15:clr>
            <a:srgbClr val="F26B43"/>
          </p15:clr>
        </p15:guide>
        <p15:guide id="18" pos="3895" userDrawn="1">
          <p15:clr>
            <a:srgbClr val="F26B43"/>
          </p15:clr>
        </p15:guide>
        <p15:guide id="19" pos="3839" userDrawn="1">
          <p15:clr>
            <a:srgbClr val="F26B43"/>
          </p15:clr>
        </p15:guide>
        <p15:guide id="20" pos="6297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gradFill>
          <a:gsLst>
            <a:gs pos="0">
              <a:srgbClr val="EAFCFF"/>
            </a:gs>
            <a:gs pos="25000">
              <a:srgbClr val="F0FDFF"/>
            </a:gs>
            <a:gs pos="73000">
              <a:schemeClr val="lt1"/>
            </a:gs>
            <a:gs pos="100000">
              <a:schemeClr val="lt1"/>
            </a:gs>
          </a:gsLst>
          <a:lin ang="8099331" scaled="0"/>
        </a:gradFill>
        <a:effectLst/>
      </p:bgPr>
    </p:bg>
    <p:spTree>
      <p:nvGrpSpPr>
        <p:cNvPr id="1" name="Shape 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Google Shape;463;g24ef7f3fd84_0_2595"/>
          <p:cNvSpPr txBox="1">
            <a:spLocks noGrp="1"/>
          </p:cNvSpPr>
          <p:nvPr>
            <p:ph type="title"/>
          </p:nvPr>
        </p:nvSpPr>
        <p:spPr>
          <a:xfrm>
            <a:off x="609441" y="609600"/>
            <a:ext cx="10947448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4" name="Google Shape;464;g24ef7f3fd84_0_2595"/>
          <p:cNvSpPr txBox="1">
            <a:spLocks noGrp="1"/>
          </p:cNvSpPr>
          <p:nvPr>
            <p:ph type="body" idx="1"/>
          </p:nvPr>
        </p:nvSpPr>
        <p:spPr>
          <a:xfrm>
            <a:off x="609441" y="1373200"/>
            <a:ext cx="5595343" cy="50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1150" algn="l" rtl="0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5" name="Google Shape;465;g24ef7f3fd84_0_2595"/>
          <p:cNvSpPr txBox="1">
            <a:spLocks noGrp="1"/>
          </p:cNvSpPr>
          <p:nvPr>
            <p:ph type="sldNum" idx="12"/>
          </p:nvPr>
        </p:nvSpPr>
        <p:spPr>
          <a:xfrm>
            <a:off x="11850661" y="6619200"/>
            <a:ext cx="362606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981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 userDrawn="1">
          <p15:clr>
            <a:srgbClr val="EA4335"/>
          </p15:clr>
        </p15:guide>
        <p15:guide id="2" pos="7294" userDrawn="1">
          <p15:clr>
            <a:srgbClr val="EA4335"/>
          </p15:clr>
        </p15:guide>
        <p15:guide id="3" orient="horz" pos="384" userDrawn="1">
          <p15:clr>
            <a:srgbClr val="EA4335"/>
          </p15:clr>
        </p15:guide>
        <p15:guide id="4" orient="horz" pos="865" userDrawn="1">
          <p15:clr>
            <a:srgbClr val="EA4335"/>
          </p15:clr>
        </p15:guide>
        <p15:guide id="5" orient="horz" pos="4069" userDrawn="1">
          <p15:clr>
            <a:srgbClr val="EA4335"/>
          </p15:clr>
        </p15:guide>
        <p15:guide id="6" orient="horz" pos="768" userDrawn="1">
          <p15:clr>
            <a:srgbClr val="EA4335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gradFill>
          <a:gsLst>
            <a:gs pos="0">
              <a:srgbClr val="EAFCFF"/>
            </a:gs>
            <a:gs pos="25000">
              <a:srgbClr val="F0FDFF"/>
            </a:gs>
            <a:gs pos="73000">
              <a:schemeClr val="lt1"/>
            </a:gs>
            <a:gs pos="100000">
              <a:schemeClr val="lt1"/>
            </a:gs>
          </a:gsLst>
          <a:lin ang="8099331" scaled="0"/>
        </a:gradFill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24"/>
          <p:cNvSpPr txBox="1">
            <a:spLocks noGrp="1"/>
          </p:cNvSpPr>
          <p:nvPr>
            <p:ph type="title"/>
          </p:nvPr>
        </p:nvSpPr>
        <p:spPr>
          <a:xfrm>
            <a:off x="609441" y="609600"/>
            <a:ext cx="10947448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9" name="Google Shape;49;p24"/>
          <p:cNvSpPr txBox="1">
            <a:spLocks noGrp="1"/>
          </p:cNvSpPr>
          <p:nvPr>
            <p:ph type="body" idx="1"/>
          </p:nvPr>
        </p:nvSpPr>
        <p:spPr>
          <a:xfrm>
            <a:off x="609441" y="1373200"/>
            <a:ext cx="5595343" cy="50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●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1150" algn="l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rial"/>
              <a:buChar char="○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1150" algn="l" rtl="0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ts val="1300"/>
              <a:buFont typeface="Arial"/>
              <a:buChar char="■"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0" name="Google Shape;50;p24"/>
          <p:cNvSpPr txBox="1">
            <a:spLocks noGrp="1"/>
          </p:cNvSpPr>
          <p:nvPr>
            <p:ph type="sldNum" idx="12"/>
          </p:nvPr>
        </p:nvSpPr>
        <p:spPr>
          <a:xfrm>
            <a:off x="11850661" y="6619200"/>
            <a:ext cx="362606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51" name="Google Shape;51;p24"/>
          <p:cNvSpPr/>
          <p:nvPr/>
        </p:nvSpPr>
        <p:spPr>
          <a:xfrm>
            <a:off x="8357818" y="6344876"/>
            <a:ext cx="3221461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6 SustainableIT.org. All Rights Reserved. 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208" r:id="rId1"/>
    <p:sldLayoutId id="2147484205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EA4335"/>
          </p15:clr>
        </p15:guide>
        <p15:guide id="2" pos="7294">
          <p15:clr>
            <a:srgbClr val="EA4335"/>
          </p15:clr>
        </p15:guide>
        <p15:guide id="3" orient="horz" pos="384">
          <p15:clr>
            <a:srgbClr val="EA4335"/>
          </p15:clr>
        </p15:guide>
        <p15:guide id="4" orient="horz" pos="865">
          <p15:clr>
            <a:srgbClr val="EA4335"/>
          </p15:clr>
        </p15:guide>
        <p15:guide id="5" orient="horz" pos="4069">
          <p15:clr>
            <a:srgbClr val="EA4335"/>
          </p15:clr>
        </p15:guide>
        <p15:guide id="6" orient="horz" pos="768">
          <p15:clr>
            <a:srgbClr val="EA4335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635;g1fa1486fb75_0_288">
            <a:extLst>
              <a:ext uri="{FF2B5EF4-FFF2-40B4-BE49-F238E27FC236}">
                <a16:creationId xmlns:a16="http://schemas.microsoft.com/office/drawing/2014/main" id="{121BF26F-B1DC-F8DE-2994-CF6BD60CFE5E}"/>
              </a:ext>
            </a:extLst>
          </p:cNvPr>
          <p:cNvSpPr/>
          <p:nvPr userDrawn="1"/>
        </p:nvSpPr>
        <p:spPr>
          <a:xfrm>
            <a:off x="8006916" y="6421075"/>
            <a:ext cx="3572369" cy="2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25 SustainableIT.org. All Rights Reserved.</a:t>
            </a:r>
            <a:endParaRPr sz="15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906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mailto:Kathryn.Marston@sustainableIT.org" TargetMode="External"/><Relationship Id="rId3" Type="http://schemas.openxmlformats.org/officeDocument/2006/relationships/image" Target="../media/image17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AFCFF"/>
            </a:gs>
            <a:gs pos="50000">
              <a:srgbClr val="F0FDFF"/>
            </a:gs>
            <a:gs pos="100000">
              <a:schemeClr val="lt1"/>
            </a:gs>
          </a:gsLst>
          <a:lin ang="8099331" scaled="0"/>
        </a:gradFill>
        <a:effectLst/>
      </p:bgPr>
    </p:bg>
    <p:spTree>
      <p:nvGrpSpPr>
        <p:cNvPr id="1" name="Shape 1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4" name="Google Shape;1864;p247"/>
          <p:cNvSpPr txBox="1">
            <a:spLocks noGrp="1"/>
          </p:cNvSpPr>
          <p:nvPr>
            <p:ph type="title"/>
          </p:nvPr>
        </p:nvSpPr>
        <p:spPr>
          <a:xfrm>
            <a:off x="630467" y="1983300"/>
            <a:ext cx="6726000" cy="13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</a:pPr>
            <a:r>
              <a:rPr lang="en-US" sz="4100" b="1" dirty="0">
                <a:solidFill>
                  <a:schemeClr val="accent3"/>
                </a:solidFill>
              </a:rPr>
              <a:t>SUSTAINABLE</a:t>
            </a:r>
            <a:r>
              <a:rPr lang="en-US" sz="4100" dirty="0">
                <a:solidFill>
                  <a:schemeClr val="accent3"/>
                </a:solidFill>
              </a:rPr>
              <a:t>IT</a:t>
            </a:r>
            <a:r>
              <a:rPr lang="en-US" sz="3300" dirty="0">
                <a:solidFill>
                  <a:schemeClr val="accent3"/>
                </a:solidFill>
              </a:rPr>
              <a:t>.ORG</a:t>
            </a:r>
            <a:endParaRPr sz="3300" dirty="0">
              <a:solidFill>
                <a:schemeClr val="accent3"/>
              </a:solidFill>
            </a:endParaRPr>
          </a:p>
        </p:txBody>
      </p:sp>
      <p:sp>
        <p:nvSpPr>
          <p:cNvPr id="1865" name="Google Shape;1865;p247"/>
          <p:cNvSpPr txBox="1">
            <a:spLocks noGrp="1"/>
          </p:cNvSpPr>
          <p:nvPr>
            <p:ph type="subTitle" idx="1"/>
          </p:nvPr>
        </p:nvSpPr>
        <p:spPr>
          <a:xfrm>
            <a:off x="630459" y="3587799"/>
            <a:ext cx="6269700" cy="7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2700" dirty="0"/>
              <a:t>Sustainable IT Playbook Assets: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2700" i="1" dirty="0">
                <a:solidFill>
                  <a:srgbClr val="FF0000"/>
                </a:solidFill>
              </a:rPr>
              <a:t>The Sustainable IT Reference Model©</a:t>
            </a:r>
            <a:endParaRPr sz="2700" i="1" dirty="0">
              <a:solidFill>
                <a:srgbClr val="FF0000"/>
              </a:solidFill>
            </a:endParaRPr>
          </a:p>
        </p:txBody>
      </p:sp>
      <p:pic>
        <p:nvPicPr>
          <p:cNvPr id="1866" name="Google Shape;1866;p247"/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617937" y="609600"/>
            <a:ext cx="7900603" cy="563739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67" name="Google Shape;1867;p247"/>
          <p:cNvPicPr preferRelativeResize="0"/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475" y="609591"/>
            <a:ext cx="1663237" cy="54249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37;p6">
            <a:extLst>
              <a:ext uri="{FF2B5EF4-FFF2-40B4-BE49-F238E27FC236}">
                <a16:creationId xmlns:a16="http://schemas.microsoft.com/office/drawing/2014/main" id="{9629B248-83CB-9017-8E43-C15EA86593B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850783" y="6619200"/>
            <a:ext cx="362700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</a:t>
            </a:fld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5" name="Google Shape;3925;g241ed37b3ff_1_5"/>
          <p:cNvSpPr/>
          <p:nvPr/>
        </p:nvSpPr>
        <p:spPr>
          <a:xfrm>
            <a:off x="5920092" y="716560"/>
            <a:ext cx="6813925" cy="5290322"/>
          </a:xfrm>
          <a:prstGeom prst="roundRect">
            <a:avLst>
              <a:gd name="adj" fmla="val 2512"/>
            </a:avLst>
          </a:prstGeom>
          <a:solidFill>
            <a:srgbClr val="F4F4F5"/>
          </a:solidFill>
          <a:ln>
            <a:noFill/>
          </a:ln>
          <a:effectLst>
            <a:outerShdw blurRad="214313" algn="bl" rotWithShape="0">
              <a:srgbClr val="000000">
                <a:alpha val="10588"/>
              </a:srgbClr>
            </a:outerShdw>
          </a:effectLst>
        </p:spPr>
        <p:txBody>
          <a:bodyPr spcFirstLastPara="1" wrap="square" lIns="91401" tIns="91401" rIns="91401" bIns="91401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926" name="Google Shape;3926;g241ed37b3ff_1_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380901" y="-4617579"/>
            <a:ext cx="3893660" cy="13224229"/>
          </a:xfrm>
          <a:prstGeom prst="rect">
            <a:avLst/>
          </a:prstGeom>
          <a:noFill/>
          <a:ln>
            <a:noFill/>
          </a:ln>
        </p:spPr>
      </p:pic>
      <p:sp>
        <p:nvSpPr>
          <p:cNvPr id="3927" name="Google Shape;3927;g241ed37b3ff_1_5"/>
          <p:cNvSpPr txBox="1">
            <a:spLocks noGrp="1"/>
          </p:cNvSpPr>
          <p:nvPr>
            <p:ph type="sldNum" idx="12"/>
          </p:nvPr>
        </p:nvSpPr>
        <p:spPr>
          <a:xfrm>
            <a:off x="11850660" y="6618369"/>
            <a:ext cx="362606" cy="238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/>
              <a:pPr marL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2</a:t>
            </a:fld>
            <a:endParaRPr dirty="0"/>
          </a:p>
        </p:txBody>
      </p:sp>
      <p:pic>
        <p:nvPicPr>
          <p:cNvPr id="3928" name="Google Shape;3928;g241ed37b3ff_1_5"/>
          <p:cNvPicPr preferRelativeResize="0"/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11069" y="-336619"/>
            <a:ext cx="6006506" cy="7693146"/>
          </a:xfrm>
          <a:prstGeom prst="rect">
            <a:avLst/>
          </a:prstGeom>
          <a:noFill/>
          <a:ln>
            <a:noFill/>
          </a:ln>
        </p:spPr>
      </p:pic>
      <p:sp>
        <p:nvSpPr>
          <p:cNvPr id="3929" name="Google Shape;3929;g241ed37b3ff_1_5"/>
          <p:cNvSpPr txBox="1"/>
          <p:nvPr/>
        </p:nvSpPr>
        <p:spPr>
          <a:xfrm>
            <a:off x="6268732" y="3584528"/>
            <a:ext cx="5581927" cy="1772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85750" marR="0" lvl="0" indent="-2857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1600" b="1" i="0" u="none" strike="noStrike" cap="none" dirty="0">
                <a:solidFill>
                  <a:srgbClr val="363636"/>
                </a:solidFill>
                <a:latin typeface="Arial"/>
                <a:ea typeface="Arial"/>
                <a:cs typeface="Arial"/>
                <a:sym typeface="Arial"/>
              </a:rPr>
              <a:t>Education and awareness </a:t>
            </a:r>
            <a:r>
              <a:rPr lang="en-US" sz="1600" b="0" i="0" u="none" strike="noStrike" cap="none" dirty="0">
                <a:solidFill>
                  <a:srgbClr val="363636"/>
                </a:solidFill>
                <a:latin typeface="Arial"/>
                <a:ea typeface="Arial"/>
                <a:cs typeface="Arial"/>
                <a:sym typeface="Arial"/>
              </a:rPr>
              <a:t>of IT’s role in driving sustainability</a:t>
            </a:r>
          </a:p>
          <a:p>
            <a:pPr marL="285750" marR="0" lvl="0" indent="-2857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63636"/>
                </a:solidFill>
              </a:rPr>
              <a:t>Research and insights </a:t>
            </a:r>
            <a:r>
              <a:rPr lang="en-US" sz="1600" dirty="0">
                <a:solidFill>
                  <a:srgbClr val="363636"/>
                </a:solidFill>
              </a:rPr>
              <a:t>on best practices for tech-enabled sustainability transformation</a:t>
            </a:r>
          </a:p>
          <a:p>
            <a:pPr marL="285750" marR="0" lvl="0" indent="-2857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1600" b="1" i="0" u="none" strike="noStrike" cap="none" dirty="0">
                <a:solidFill>
                  <a:srgbClr val="363636"/>
                </a:solidFill>
                <a:latin typeface="Arial"/>
                <a:ea typeface="Arial"/>
                <a:cs typeface="Arial"/>
                <a:sym typeface="Arial"/>
              </a:rPr>
              <a:t>Community connection </a:t>
            </a:r>
            <a:r>
              <a:rPr lang="en-US" sz="1600" b="0" i="0" u="none" strike="noStrike" cap="none" dirty="0">
                <a:solidFill>
                  <a:srgbClr val="363636"/>
                </a:solidFill>
                <a:latin typeface="Arial"/>
                <a:ea typeface="Arial"/>
                <a:cs typeface="Arial"/>
                <a:sym typeface="Arial"/>
              </a:rPr>
              <a:t>among IT practitioners, business leaders, and sustainability experts worldwide</a:t>
            </a:r>
          </a:p>
        </p:txBody>
      </p:sp>
      <p:sp>
        <p:nvSpPr>
          <p:cNvPr id="3930" name="Google Shape;3930;g241ed37b3ff_1_5"/>
          <p:cNvSpPr txBox="1"/>
          <p:nvPr/>
        </p:nvSpPr>
        <p:spPr>
          <a:xfrm>
            <a:off x="6268733" y="3004145"/>
            <a:ext cx="5497268" cy="6308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3000"/>
              <a:buFont typeface="Arial"/>
              <a:buNone/>
            </a:pPr>
            <a:r>
              <a:rPr lang="en-US" sz="2999" b="0" i="0" u="none" strike="noStrike" cap="none" dirty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Our Mandates</a:t>
            </a:r>
            <a:endParaRPr sz="2999" b="0" i="0" u="none" strike="noStrike" cap="none" dirty="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31" name="Google Shape;3931;g241ed37b3ff_1_5"/>
          <p:cNvSpPr txBox="1"/>
          <p:nvPr/>
        </p:nvSpPr>
        <p:spPr>
          <a:xfrm>
            <a:off x="6268733" y="1077926"/>
            <a:ext cx="4691078" cy="6308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3000"/>
              <a:buFont typeface="Arial"/>
              <a:buNone/>
            </a:pPr>
            <a:r>
              <a:rPr lang="en-US" sz="2999" b="0" i="0" u="none" strike="noStrike" cap="none" dirty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Our Mission</a:t>
            </a:r>
            <a:endParaRPr sz="2999" b="0" i="0" u="none" strike="noStrike" cap="none" dirty="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32" name="Google Shape;3932;g241ed37b3ff_1_5"/>
          <p:cNvSpPr txBox="1"/>
          <p:nvPr/>
        </p:nvSpPr>
        <p:spPr>
          <a:xfrm>
            <a:off x="6268733" y="1630169"/>
            <a:ext cx="5269494" cy="11818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212529"/>
                </a:solidFill>
                <a:latin typeface="Arial"/>
                <a:ea typeface="Arial"/>
                <a:cs typeface="Arial"/>
                <a:sym typeface="Arial"/>
              </a:rPr>
              <a:t>SustainableIT.org is a 501(c)(6) nonprofit organization (NPO) led by technology executives with the mission of advancing global sustainability through technology leadership.</a:t>
            </a:r>
            <a:endParaRPr sz="1600" b="0" i="0" u="none" strike="noStrike" cap="none" dirty="0">
              <a:solidFill>
                <a:srgbClr val="21252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Picture 1" descr="A qr code with black squares&#10;&#10;Description automatically generated">
            <a:extLst>
              <a:ext uri="{FF2B5EF4-FFF2-40B4-BE49-F238E27FC236}">
                <a16:creationId xmlns:a16="http://schemas.microsoft.com/office/drawing/2014/main" id="{997B8FDD-B669-FA35-494C-149A17CA32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86448" y="3877042"/>
            <a:ext cx="1492876" cy="1492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3060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13"/>
          <p:cNvSpPr txBox="1">
            <a:spLocks noGrp="1"/>
          </p:cNvSpPr>
          <p:nvPr>
            <p:ph type="title"/>
          </p:nvPr>
        </p:nvSpPr>
        <p:spPr>
          <a:xfrm>
            <a:off x="354106" y="2413106"/>
            <a:ext cx="3453231" cy="240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2190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</a:pPr>
            <a:r>
              <a:rPr lang="en-US" dirty="0"/>
              <a:t>Introduction: Sustainable IT Reference Model©</a:t>
            </a:r>
            <a:endParaRPr dirty="0"/>
          </a:p>
        </p:txBody>
      </p:sp>
      <p:sp>
        <p:nvSpPr>
          <p:cNvPr id="311" name="Google Shape;311;p13"/>
          <p:cNvSpPr txBox="1">
            <a:spLocks noGrp="1"/>
          </p:cNvSpPr>
          <p:nvPr>
            <p:ph type="sldNum" idx="12"/>
          </p:nvPr>
        </p:nvSpPr>
        <p:spPr>
          <a:xfrm>
            <a:off x="11850661" y="6619200"/>
            <a:ext cx="362606" cy="2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en-US"/>
              <a:t>3</a:t>
            </a:fld>
            <a:endParaRPr dirty="0"/>
          </a:p>
        </p:txBody>
      </p:sp>
      <p:sp>
        <p:nvSpPr>
          <p:cNvPr id="312" name="Google Shape;312;p13"/>
          <p:cNvSpPr txBox="1"/>
          <p:nvPr/>
        </p:nvSpPr>
        <p:spPr>
          <a:xfrm>
            <a:off x="4383742" y="1005127"/>
            <a:ext cx="7395882" cy="5565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Sustainable IT Reference Model© encompasses the key focal points for IT-led sustainability. 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</a:pPr>
            <a:endParaRPr lang="en-US" sz="2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t consists of two primary focus areas – “Sustainability by IT,” in which the IT organization applies its expertise and capabilities to drive sustainability transformation across the enterprise; and “Sustainability in IT,” in which IT transforms the IT function itself. 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</a:pPr>
            <a:endParaRPr lang="en-US" sz="2000" dirty="0">
              <a:solidFill>
                <a:schemeClr val="dk1"/>
              </a:solidFill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wo overarching responsibilities span both focal points – ESG standards, reporting and compliance, and sustainability culture. </a:t>
            </a:r>
          </a:p>
          <a:p>
            <a:pPr marL="127000"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</a:pPr>
            <a:endParaRPr sz="2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t should be used to orient IT staff on the breadth and scope of IT’s sustainability journey – to transform itself into a more sustainable business function, thereby gaining credibility and expertise to be a transformative partner to the enterprise in accelerating its sustainability progress.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81000"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</a:pPr>
            <a:endParaRPr sz="2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063" marR="0" lvl="0" indent="-330126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1999"/>
              <a:buFont typeface="Arial"/>
              <a:buNone/>
            </a:pPr>
            <a:endParaRPr sz="1999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3681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2F9CBA-02D1-CA3E-61EB-7E204BB363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CDAE04-7E46-891D-7930-2768D718E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97" y="169250"/>
            <a:ext cx="10969043" cy="609600"/>
          </a:xfrm>
        </p:spPr>
        <p:txBody>
          <a:bodyPr/>
          <a:lstStyle/>
          <a:p>
            <a:r>
              <a:rPr lang="en-US" sz="3200" dirty="0"/>
              <a:t>Sustainable IT Reference Model©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A325B7-D478-A026-FFE1-179C6C1BD59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4</a:t>
            </a:fld>
            <a:endParaRPr lang="en-US" dirty="0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71B7542-E15E-248B-BBA1-62CB237E4862}"/>
              </a:ext>
            </a:extLst>
          </p:cNvPr>
          <p:cNvGrpSpPr/>
          <p:nvPr/>
        </p:nvGrpSpPr>
        <p:grpSpPr>
          <a:xfrm>
            <a:off x="266646" y="1548825"/>
            <a:ext cx="3411419" cy="4492446"/>
            <a:chOff x="257681" y="1934308"/>
            <a:chExt cx="3411419" cy="4492446"/>
          </a:xfrm>
        </p:grpSpPr>
        <p:sp>
          <p:nvSpPr>
            <p:cNvPr id="7" name="Flowchart: Off-page Connector 6">
              <a:extLst>
                <a:ext uri="{FF2B5EF4-FFF2-40B4-BE49-F238E27FC236}">
                  <a16:creationId xmlns:a16="http://schemas.microsoft.com/office/drawing/2014/main" id="{8F73D381-1B80-F5B9-04EA-3856925532E4}"/>
                </a:ext>
              </a:extLst>
            </p:cNvPr>
            <p:cNvSpPr/>
            <p:nvPr/>
          </p:nvSpPr>
          <p:spPr>
            <a:xfrm rot="16200000">
              <a:off x="1216045" y="3555022"/>
              <a:ext cx="1494692" cy="3411419"/>
            </a:xfrm>
            <a:prstGeom prst="flowChartOffpageConnector">
              <a:avLst/>
            </a:prstGeom>
            <a:solidFill>
              <a:srgbClr val="339933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Off-page Connector 5">
              <a:extLst>
                <a:ext uri="{FF2B5EF4-FFF2-40B4-BE49-F238E27FC236}">
                  <a16:creationId xmlns:a16="http://schemas.microsoft.com/office/drawing/2014/main" id="{01479A3B-C365-459D-C5A8-D084F72D358D}"/>
                </a:ext>
              </a:extLst>
            </p:cNvPr>
            <p:cNvSpPr/>
            <p:nvPr/>
          </p:nvSpPr>
          <p:spPr>
            <a:xfrm rot="16200000">
              <a:off x="1248401" y="1008303"/>
              <a:ext cx="1494692" cy="3346701"/>
            </a:xfrm>
            <a:prstGeom prst="flowChartOffpageConnector">
              <a:avLst/>
            </a:prstGeom>
            <a:solidFill>
              <a:srgbClr val="6699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8563A0A-AC1F-412F-31BF-68EDE1C26BC5}"/>
                </a:ext>
              </a:extLst>
            </p:cNvPr>
            <p:cNvSpPr txBox="1"/>
            <p:nvPr/>
          </p:nvSpPr>
          <p:spPr>
            <a:xfrm>
              <a:off x="383187" y="2025549"/>
              <a:ext cx="3013058" cy="44012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</a:rPr>
                <a:t>Aligns with and impacts enterprise sustainability</a:t>
              </a:r>
            </a:p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</a:rPr>
                <a:t>Directly engages or impacts enterprise stakeholders; visible</a:t>
              </a:r>
            </a:p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</a:rPr>
                <a:t>Influenced or jointly controlled by I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/>
            </a:p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</a:rPr>
                <a:t>Aligns with and impacts IT function operations sustainability </a:t>
              </a:r>
            </a:p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</a:rPr>
                <a:t>Fully controlled by IT</a:t>
              </a:r>
            </a:p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</a:rPr>
                <a:t>Largely invisible to enterprise stakeholder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/>
            </a:p>
          </p:txBody>
        </p:sp>
      </p:grpSp>
      <p:pic>
        <p:nvPicPr>
          <p:cNvPr id="50" name="Picture 49">
            <a:extLst>
              <a:ext uri="{FF2B5EF4-FFF2-40B4-BE49-F238E27FC236}">
                <a16:creationId xmlns:a16="http://schemas.microsoft.com/office/drawing/2014/main" id="{9B750669-8118-0367-F5A4-1B844AA077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8176" y="744071"/>
            <a:ext cx="8280174" cy="5625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0521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060F83-20E2-2543-9AAA-970D4D724D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20" y="609600"/>
            <a:ext cx="11330198" cy="609600"/>
          </a:xfrm>
        </p:spPr>
        <p:txBody>
          <a:bodyPr/>
          <a:lstStyle/>
          <a:p>
            <a:r>
              <a:rPr lang="en-US" dirty="0"/>
              <a:t>The Model aligns with the sustainability Footprint &amp; Handprint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1806B7-32CB-9482-AB10-5B2331B4BE1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5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C8A30A2-2A38-3B47-BF6B-2CD31177AC31}"/>
              </a:ext>
            </a:extLst>
          </p:cNvPr>
          <p:cNvGrpSpPr/>
          <p:nvPr/>
        </p:nvGrpSpPr>
        <p:grpSpPr>
          <a:xfrm>
            <a:off x="2466091" y="4544578"/>
            <a:ext cx="9154757" cy="1291961"/>
            <a:chOff x="2755589" y="2200863"/>
            <a:chExt cx="9154757" cy="129196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A980CA3-5FB3-45A9-A243-BD01B5506F02}"/>
                </a:ext>
              </a:extLst>
            </p:cNvPr>
            <p:cNvSpPr/>
            <p:nvPr/>
          </p:nvSpPr>
          <p:spPr>
            <a:xfrm>
              <a:off x="4119819" y="2200863"/>
              <a:ext cx="7790527" cy="1291961"/>
            </a:xfrm>
            <a:prstGeom prst="rect">
              <a:avLst/>
            </a:prstGeom>
            <a:solidFill>
              <a:srgbClr val="335F35"/>
            </a:solidFill>
            <a:ln>
              <a:solidFill>
                <a:srgbClr val="335F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9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17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26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34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43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52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60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69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220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0F40F1F-6B3E-4730-82ED-90A5F3B0A0CF}"/>
                </a:ext>
              </a:extLst>
            </p:cNvPr>
            <p:cNvGrpSpPr/>
            <p:nvPr/>
          </p:nvGrpSpPr>
          <p:grpSpPr>
            <a:xfrm>
              <a:off x="4206375" y="2286325"/>
              <a:ext cx="1063113" cy="1193992"/>
              <a:chOff x="4206371" y="2286323"/>
              <a:chExt cx="1055059" cy="1194302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8FFD62FC-3426-43BD-BA0D-9A8AB1D76667}"/>
                  </a:ext>
                </a:extLst>
              </p:cNvPr>
              <p:cNvSpPr/>
              <p:nvPr/>
            </p:nvSpPr>
            <p:spPr>
              <a:xfrm>
                <a:off x="4373900" y="2286323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rgbClr val="689C4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0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17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326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434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543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652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76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686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400" dirty="0"/>
              </a:p>
            </p:txBody>
          </p:sp>
          <p:sp>
            <p:nvSpPr>
              <p:cNvPr id="54" name="Freeform 7">
                <a:extLst>
                  <a:ext uri="{FF2B5EF4-FFF2-40B4-BE49-F238E27FC236}">
                    <a16:creationId xmlns:a16="http://schemas.microsoft.com/office/drawing/2014/main" id="{520DC4AB-926B-45C1-BCAD-27B9C243013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45034" y="2468691"/>
                <a:ext cx="608674" cy="349134"/>
              </a:xfrm>
              <a:custGeom>
                <a:avLst/>
                <a:gdLst/>
                <a:ahLst/>
                <a:cxnLst>
                  <a:cxn ang="0">
                    <a:pos x="246" y="32"/>
                  </a:cxn>
                  <a:cxn ang="0">
                    <a:pos x="165" y="0"/>
                  </a:cxn>
                  <a:cxn ang="0">
                    <a:pos x="65" y="61"/>
                  </a:cxn>
                  <a:cxn ang="0">
                    <a:pos x="0" y="119"/>
                  </a:cxn>
                  <a:cxn ang="0">
                    <a:pos x="74" y="177"/>
                  </a:cxn>
                  <a:cxn ang="0">
                    <a:pos x="108" y="171"/>
                  </a:cxn>
                  <a:cxn ang="0">
                    <a:pos x="149" y="190"/>
                  </a:cxn>
                  <a:cxn ang="0">
                    <a:pos x="192" y="166"/>
                  </a:cxn>
                  <a:cxn ang="0">
                    <a:pos x="241" y="177"/>
                  </a:cxn>
                  <a:cxn ang="0">
                    <a:pos x="334" y="104"/>
                  </a:cxn>
                  <a:cxn ang="0">
                    <a:pos x="246" y="32"/>
                  </a:cxn>
                  <a:cxn ang="0">
                    <a:pos x="227" y="161"/>
                  </a:cxn>
                  <a:cxn ang="0">
                    <a:pos x="187" y="152"/>
                  </a:cxn>
                  <a:cxn ang="0">
                    <a:pos x="152" y="172"/>
                  </a:cxn>
                  <a:cxn ang="0">
                    <a:pos x="119" y="156"/>
                  </a:cxn>
                  <a:cxn ang="0">
                    <a:pos x="92" y="161"/>
                  </a:cxn>
                  <a:cxn ang="0">
                    <a:pos x="32" y="114"/>
                  </a:cxn>
                  <a:cxn ang="0">
                    <a:pos x="85" y="67"/>
                  </a:cxn>
                  <a:cxn ang="0">
                    <a:pos x="165" y="19"/>
                  </a:cxn>
                  <a:cxn ang="0">
                    <a:pos x="231" y="44"/>
                  </a:cxn>
                  <a:cxn ang="0">
                    <a:pos x="302" y="103"/>
                  </a:cxn>
                  <a:cxn ang="0">
                    <a:pos x="227" y="161"/>
                  </a:cxn>
                </a:cxnLst>
                <a:rect l="0" t="0" r="r" b="b"/>
                <a:pathLst>
                  <a:path w="334" h="190">
                    <a:moveTo>
                      <a:pt x="246" y="32"/>
                    </a:moveTo>
                    <a:cubicBezTo>
                      <a:pt x="227" y="13"/>
                      <a:pt x="198" y="0"/>
                      <a:pt x="165" y="0"/>
                    </a:cubicBezTo>
                    <a:cubicBezTo>
                      <a:pt x="117" y="0"/>
                      <a:pt x="77" y="26"/>
                      <a:pt x="65" y="61"/>
                    </a:cubicBezTo>
                    <a:cubicBezTo>
                      <a:pt x="29" y="64"/>
                      <a:pt x="0" y="89"/>
                      <a:pt x="0" y="119"/>
                    </a:cubicBezTo>
                    <a:cubicBezTo>
                      <a:pt x="0" y="151"/>
                      <a:pt x="33" y="177"/>
                      <a:pt x="74" y="177"/>
                    </a:cubicBezTo>
                    <a:cubicBezTo>
                      <a:pt x="87" y="177"/>
                      <a:pt x="98" y="175"/>
                      <a:pt x="108" y="171"/>
                    </a:cubicBezTo>
                    <a:cubicBezTo>
                      <a:pt x="116" y="182"/>
                      <a:pt x="131" y="190"/>
                      <a:pt x="149" y="190"/>
                    </a:cubicBezTo>
                    <a:cubicBezTo>
                      <a:pt x="169" y="190"/>
                      <a:pt x="186" y="180"/>
                      <a:pt x="192" y="166"/>
                    </a:cubicBezTo>
                    <a:cubicBezTo>
                      <a:pt x="206" y="173"/>
                      <a:pt x="223" y="177"/>
                      <a:pt x="241" y="177"/>
                    </a:cubicBezTo>
                    <a:cubicBezTo>
                      <a:pt x="292" y="177"/>
                      <a:pt x="334" y="144"/>
                      <a:pt x="334" y="104"/>
                    </a:cubicBezTo>
                    <a:cubicBezTo>
                      <a:pt x="334" y="66"/>
                      <a:pt x="295" y="34"/>
                      <a:pt x="246" y="32"/>
                    </a:cubicBezTo>
                    <a:close/>
                    <a:moveTo>
                      <a:pt x="227" y="161"/>
                    </a:moveTo>
                    <a:cubicBezTo>
                      <a:pt x="212" y="161"/>
                      <a:pt x="199" y="158"/>
                      <a:pt x="187" y="152"/>
                    </a:cubicBezTo>
                    <a:cubicBezTo>
                      <a:pt x="182" y="164"/>
                      <a:pt x="169" y="172"/>
                      <a:pt x="152" y="172"/>
                    </a:cubicBezTo>
                    <a:cubicBezTo>
                      <a:pt x="138" y="172"/>
                      <a:pt x="125" y="166"/>
                      <a:pt x="119" y="156"/>
                    </a:cubicBezTo>
                    <a:cubicBezTo>
                      <a:pt x="111" y="159"/>
                      <a:pt x="102" y="161"/>
                      <a:pt x="92" y="161"/>
                    </a:cubicBezTo>
                    <a:cubicBezTo>
                      <a:pt x="59" y="161"/>
                      <a:pt x="32" y="140"/>
                      <a:pt x="32" y="114"/>
                    </a:cubicBezTo>
                    <a:cubicBezTo>
                      <a:pt x="32" y="90"/>
                      <a:pt x="55" y="70"/>
                      <a:pt x="85" y="67"/>
                    </a:cubicBezTo>
                    <a:cubicBezTo>
                      <a:pt x="94" y="39"/>
                      <a:pt x="126" y="19"/>
                      <a:pt x="165" y="19"/>
                    </a:cubicBezTo>
                    <a:cubicBezTo>
                      <a:pt x="192" y="19"/>
                      <a:pt x="216" y="29"/>
                      <a:pt x="231" y="44"/>
                    </a:cubicBezTo>
                    <a:cubicBezTo>
                      <a:pt x="270" y="46"/>
                      <a:pt x="302" y="71"/>
                      <a:pt x="302" y="103"/>
                    </a:cubicBezTo>
                    <a:cubicBezTo>
                      <a:pt x="302" y="135"/>
                      <a:pt x="268" y="161"/>
                      <a:pt x="227" y="161"/>
                    </a:cubicBezTo>
                    <a:close/>
                  </a:path>
                </a:pathLst>
              </a:custGeom>
              <a:solidFill>
                <a:srgbClr val="689C4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0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17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326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434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543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652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76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686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31250"/>
                  </a:spcBef>
                  <a:spcAft>
                    <a:spcPct val="0"/>
                  </a:spcAft>
                  <a:buClr>
                    <a:srgbClr val="00529B"/>
                  </a:buClr>
                  <a:buSzPct val="100000"/>
                </a:pPr>
                <a:endParaRPr lang="en-US" sz="1600" kern="0" dirty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55" name="TextBox 208">
                <a:extLst>
                  <a:ext uri="{FF2B5EF4-FFF2-40B4-BE49-F238E27FC236}">
                    <a16:creationId xmlns:a16="http://schemas.microsoft.com/office/drawing/2014/main" id="{92E7B320-1E99-4FC0-9AD3-44D1B0C30E0A}"/>
                  </a:ext>
                </a:extLst>
              </p:cNvPr>
              <p:cNvSpPr txBox="1"/>
              <p:nvPr/>
            </p:nvSpPr>
            <p:spPr>
              <a:xfrm>
                <a:off x="4206371" y="3018840"/>
                <a:ext cx="1055059" cy="46178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0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17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326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434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543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652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76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686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GB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ta center </a:t>
                </a:r>
              </a:p>
              <a:p>
                <a:pPr algn="ctr"/>
                <a:r>
                  <a:rPr lang="en-GB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nd cloud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6F41B78-6882-422D-8718-7FA9B6701BDB}"/>
                </a:ext>
              </a:extLst>
            </p:cNvPr>
            <p:cNvGrpSpPr/>
            <p:nvPr/>
          </p:nvGrpSpPr>
          <p:grpSpPr>
            <a:xfrm>
              <a:off x="10533048" y="2286325"/>
              <a:ext cx="1305164" cy="1193992"/>
              <a:chOff x="10533058" y="2286323"/>
              <a:chExt cx="1305504" cy="1194302"/>
            </a:xfrm>
          </p:grpSpPr>
          <p:sp>
            <p:nvSpPr>
              <p:cNvPr id="49" name="TextBox 197">
                <a:extLst>
                  <a:ext uri="{FF2B5EF4-FFF2-40B4-BE49-F238E27FC236}">
                    <a16:creationId xmlns:a16="http://schemas.microsoft.com/office/drawing/2014/main" id="{5A01959E-2A3B-4E19-86AF-C78D023BCFB9}"/>
                  </a:ext>
                </a:extLst>
              </p:cNvPr>
              <p:cNvSpPr txBox="1"/>
              <p:nvPr/>
            </p:nvSpPr>
            <p:spPr>
              <a:xfrm>
                <a:off x="10533058" y="3018840"/>
                <a:ext cx="1305504" cy="46178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0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17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326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434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543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652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76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686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GB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Vendor mgt. &amp;</a:t>
                </a:r>
                <a:br>
                  <a:rPr lang="en-GB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GB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T procurement</a:t>
                </a:r>
              </a:p>
            </p:txBody>
          </p: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EFD45502-457C-4A17-9933-5E8479263E1B}"/>
                  </a:ext>
                </a:extLst>
              </p:cNvPr>
              <p:cNvGrpSpPr/>
              <p:nvPr/>
            </p:nvGrpSpPr>
            <p:grpSpPr>
              <a:xfrm>
                <a:off x="10825806" y="2286323"/>
                <a:ext cx="720000" cy="720000"/>
                <a:chOff x="10825806" y="2286323"/>
                <a:chExt cx="720000" cy="720000"/>
              </a:xfrm>
            </p:grpSpPr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411206D9-039D-4C83-9F93-184871594358}"/>
                    </a:ext>
                  </a:extLst>
                </p:cNvPr>
                <p:cNvSpPr/>
                <p:nvPr/>
              </p:nvSpPr>
              <p:spPr>
                <a:xfrm>
                  <a:off x="10825806" y="2286323"/>
                  <a:ext cx="720000" cy="72000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rgbClr val="689C4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09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17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326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434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543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652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760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6869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400" dirty="0"/>
                </a:p>
              </p:txBody>
            </p:sp>
            <p:sp>
              <p:nvSpPr>
                <p:cNvPr id="52" name="Freeform 683">
                  <a:extLst>
                    <a:ext uri="{FF2B5EF4-FFF2-40B4-BE49-F238E27FC236}">
                      <a16:creationId xmlns:a16="http://schemas.microsoft.com/office/drawing/2014/main" id="{49DD8E02-1238-4855-A926-74787806C5A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935782" y="2398511"/>
                  <a:ext cx="500048" cy="495624"/>
                </a:xfrm>
                <a:custGeom>
                  <a:avLst/>
                  <a:gdLst>
                    <a:gd name="T0" fmla="*/ 1196395 w 297522"/>
                    <a:gd name="T1" fmla="*/ 837905 h 293327"/>
                    <a:gd name="T2" fmla="*/ 552851 w 297522"/>
                    <a:gd name="T3" fmla="*/ 837905 h 293327"/>
                    <a:gd name="T4" fmla="*/ 901175 w 297522"/>
                    <a:gd name="T5" fmla="*/ 715132 h 293327"/>
                    <a:gd name="T6" fmla="*/ 901175 w 297522"/>
                    <a:gd name="T7" fmla="*/ 715132 h 293327"/>
                    <a:gd name="T8" fmla="*/ 848075 w 297522"/>
                    <a:gd name="T9" fmla="*/ 936992 h 293327"/>
                    <a:gd name="T10" fmla="*/ 1522821 w 297522"/>
                    <a:gd name="T11" fmla="*/ 626783 h 293327"/>
                    <a:gd name="T12" fmla="*/ 1522821 w 297522"/>
                    <a:gd name="T13" fmla="*/ 932704 h 293327"/>
                    <a:gd name="T14" fmla="*/ 1580068 w 297522"/>
                    <a:gd name="T15" fmla="*/ 611588 h 293327"/>
                    <a:gd name="T16" fmla="*/ 182249 w 297522"/>
                    <a:gd name="T17" fmla="*/ 611588 h 293327"/>
                    <a:gd name="T18" fmla="*/ 237711 w 297522"/>
                    <a:gd name="T19" fmla="*/ 932704 h 293327"/>
                    <a:gd name="T20" fmla="*/ 241980 w 297522"/>
                    <a:gd name="T21" fmla="*/ 626783 h 293327"/>
                    <a:gd name="T22" fmla="*/ 1113567 w 297522"/>
                    <a:gd name="T23" fmla="*/ 721593 h 293327"/>
                    <a:gd name="T24" fmla="*/ 1158167 w 297522"/>
                    <a:gd name="T25" fmla="*/ 540650 h 293327"/>
                    <a:gd name="T26" fmla="*/ 1064715 w 297522"/>
                    <a:gd name="T27" fmla="*/ 700054 h 293327"/>
                    <a:gd name="T28" fmla="*/ 644184 w 297522"/>
                    <a:gd name="T29" fmla="*/ 540650 h 293327"/>
                    <a:gd name="T30" fmla="*/ 848075 w 297522"/>
                    <a:gd name="T31" fmla="*/ 540650 h 293327"/>
                    <a:gd name="T32" fmla="*/ 516749 w 297522"/>
                    <a:gd name="T33" fmla="*/ 794827 h 293327"/>
                    <a:gd name="T34" fmla="*/ 423297 w 297522"/>
                    <a:gd name="T35" fmla="*/ 540650 h 293327"/>
                    <a:gd name="T36" fmla="*/ 1743337 w 297522"/>
                    <a:gd name="T37" fmla="*/ 611588 h 293327"/>
                    <a:gd name="T38" fmla="*/ 1331989 w 297522"/>
                    <a:gd name="T39" fmla="*/ 1761522 h 293327"/>
                    <a:gd name="T40" fmla="*/ 1378633 w 297522"/>
                    <a:gd name="T41" fmla="*/ 1668221 h 293327"/>
                    <a:gd name="T42" fmla="*/ 1645802 w 297522"/>
                    <a:gd name="T43" fmla="*/ 568200 h 293327"/>
                    <a:gd name="T44" fmla="*/ 1404078 w 297522"/>
                    <a:gd name="T45" fmla="*/ 1368812 h 293327"/>
                    <a:gd name="T46" fmla="*/ 1361675 w 297522"/>
                    <a:gd name="T47" fmla="*/ 1338436 h 293327"/>
                    <a:gd name="T48" fmla="*/ 1438005 w 297522"/>
                    <a:gd name="T49" fmla="*/ 965245 h 293327"/>
                    <a:gd name="T50" fmla="*/ 1071180 w 297522"/>
                    <a:gd name="T51" fmla="*/ 1433901 h 293327"/>
                    <a:gd name="T52" fmla="*/ 1028778 w 297522"/>
                    <a:gd name="T53" fmla="*/ 1592284 h 293327"/>
                    <a:gd name="T54" fmla="*/ 1196285 w 297522"/>
                    <a:gd name="T55" fmla="*/ 1203916 h 293327"/>
                    <a:gd name="T56" fmla="*/ 1448607 w 297522"/>
                    <a:gd name="T57" fmla="*/ 726583 h 293327"/>
                    <a:gd name="T58" fmla="*/ 1590671 w 297522"/>
                    <a:gd name="T59" fmla="*/ 557347 h 293327"/>
                    <a:gd name="T60" fmla="*/ 171580 w 297522"/>
                    <a:gd name="T61" fmla="*/ 557347 h 293327"/>
                    <a:gd name="T62" fmla="*/ 314509 w 297522"/>
                    <a:gd name="T63" fmla="*/ 726583 h 293327"/>
                    <a:gd name="T64" fmla="*/ 568358 w 297522"/>
                    <a:gd name="T65" fmla="*/ 1203916 h 293327"/>
                    <a:gd name="T66" fmla="*/ 736889 w 297522"/>
                    <a:gd name="T67" fmla="*/ 1592284 h 293327"/>
                    <a:gd name="T68" fmla="*/ 694225 w 297522"/>
                    <a:gd name="T69" fmla="*/ 1433901 h 293327"/>
                    <a:gd name="T70" fmla="*/ 323042 w 297522"/>
                    <a:gd name="T71" fmla="*/ 965245 h 293327"/>
                    <a:gd name="T72" fmla="*/ 401967 w 297522"/>
                    <a:gd name="T73" fmla="*/ 1338436 h 293327"/>
                    <a:gd name="T74" fmla="*/ 357174 w 297522"/>
                    <a:gd name="T75" fmla="*/ 1368812 h 293327"/>
                    <a:gd name="T76" fmla="*/ 116120 w 297522"/>
                    <a:gd name="T77" fmla="*/ 568200 h 293327"/>
                    <a:gd name="T78" fmla="*/ 384903 w 297522"/>
                    <a:gd name="T79" fmla="*/ 1668221 h 293327"/>
                    <a:gd name="T80" fmla="*/ 431836 w 297522"/>
                    <a:gd name="T81" fmla="*/ 1761522 h 293327"/>
                    <a:gd name="T82" fmla="*/ 20121 w 297522"/>
                    <a:gd name="T83" fmla="*/ 609418 h 293327"/>
                    <a:gd name="T84" fmla="*/ 1064715 w 297522"/>
                    <a:gd name="T85" fmla="*/ 329561 h 293327"/>
                    <a:gd name="T86" fmla="*/ 1102943 w 297522"/>
                    <a:gd name="T87" fmla="*/ 486804 h 293327"/>
                    <a:gd name="T88" fmla="*/ 644184 w 297522"/>
                    <a:gd name="T89" fmla="*/ 486804 h 293327"/>
                    <a:gd name="T90" fmla="*/ 684538 w 297522"/>
                    <a:gd name="T91" fmla="*/ 329561 h 293327"/>
                    <a:gd name="T92" fmla="*/ 1158167 w 297522"/>
                    <a:gd name="T93" fmla="*/ 486804 h 293327"/>
                    <a:gd name="T94" fmla="*/ 518876 w 297522"/>
                    <a:gd name="T95" fmla="*/ 232634 h 293327"/>
                    <a:gd name="T96" fmla="*/ 635686 w 297522"/>
                    <a:gd name="T97" fmla="*/ 308023 h 293327"/>
                    <a:gd name="T98" fmla="*/ 901175 w 297522"/>
                    <a:gd name="T99" fmla="*/ 314486 h 293327"/>
                    <a:gd name="T100" fmla="*/ 848075 w 297522"/>
                    <a:gd name="T101" fmla="*/ 90470 h 293327"/>
                    <a:gd name="T102" fmla="*/ 848075 w 297522"/>
                    <a:gd name="T103" fmla="*/ 90470 h 293327"/>
                    <a:gd name="T104" fmla="*/ 1196395 w 297522"/>
                    <a:gd name="T105" fmla="*/ 191710 h 293327"/>
                    <a:gd name="T106" fmla="*/ 552851 w 297522"/>
                    <a:gd name="T107" fmla="*/ 191710 h 293327"/>
                    <a:gd name="T108" fmla="*/ 873560 w 297522"/>
                    <a:gd name="T109" fmla="*/ 0 h 293327"/>
                    <a:gd name="T110" fmla="*/ 1381174 w 297522"/>
                    <a:gd name="T111" fmla="*/ 514805 h 293327"/>
                    <a:gd name="T112" fmla="*/ 873560 w 297522"/>
                    <a:gd name="T113" fmla="*/ 1027454 h 293327"/>
                    <a:gd name="T114" fmla="*/ 368076 w 297522"/>
                    <a:gd name="T115" fmla="*/ 514805 h 293327"/>
                    <a:gd name="T116" fmla="*/ 873560 w 297522"/>
                    <a:gd name="T117" fmla="*/ 0 h 293327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0" t="0" r="r" b="b"/>
                  <a:pathLst>
                    <a:path w="297522" h="293327">
                      <a:moveTo>
                        <a:pt x="184112" y="128408"/>
                      </a:moveTo>
                      <a:cubicBezTo>
                        <a:pt x="176580" y="142038"/>
                        <a:pt x="166895" y="153875"/>
                        <a:pt x="160080" y="161048"/>
                      </a:cubicBezTo>
                      <a:cubicBezTo>
                        <a:pt x="175862" y="158538"/>
                        <a:pt x="190568" y="151005"/>
                        <a:pt x="202046" y="139527"/>
                      </a:cubicBezTo>
                      <a:cubicBezTo>
                        <a:pt x="196666" y="135582"/>
                        <a:pt x="190568" y="131636"/>
                        <a:pt x="184112" y="128408"/>
                      </a:cubicBezTo>
                      <a:close/>
                      <a:moveTo>
                        <a:pt x="111300" y="128408"/>
                      </a:moveTo>
                      <a:cubicBezTo>
                        <a:pt x="104485" y="131636"/>
                        <a:pt x="98387" y="135582"/>
                        <a:pt x="93365" y="139527"/>
                      </a:cubicBezTo>
                      <a:cubicBezTo>
                        <a:pt x="104843" y="151005"/>
                        <a:pt x="119549" y="158538"/>
                        <a:pt x="135331" y="161048"/>
                      </a:cubicBezTo>
                      <a:cubicBezTo>
                        <a:pt x="128158" y="153875"/>
                        <a:pt x="118832" y="142397"/>
                        <a:pt x="111300" y="128408"/>
                      </a:cubicBezTo>
                      <a:close/>
                      <a:moveTo>
                        <a:pt x="152189" y="119083"/>
                      </a:moveTo>
                      <a:lnTo>
                        <a:pt x="152189" y="156027"/>
                      </a:lnTo>
                      <a:cubicBezTo>
                        <a:pt x="158646" y="149212"/>
                        <a:pt x="168330" y="138093"/>
                        <a:pt x="175504" y="124463"/>
                      </a:cubicBezTo>
                      <a:cubicBezTo>
                        <a:pt x="168330" y="121593"/>
                        <a:pt x="160439" y="119800"/>
                        <a:pt x="152189" y="119083"/>
                      </a:cubicBezTo>
                      <a:close/>
                      <a:moveTo>
                        <a:pt x="143222" y="119083"/>
                      </a:moveTo>
                      <a:cubicBezTo>
                        <a:pt x="134973" y="119800"/>
                        <a:pt x="127082" y="121593"/>
                        <a:pt x="119549" y="124463"/>
                      </a:cubicBezTo>
                      <a:cubicBezTo>
                        <a:pt x="127082" y="138093"/>
                        <a:pt x="136766" y="149212"/>
                        <a:pt x="143222" y="156027"/>
                      </a:cubicBezTo>
                      <a:lnTo>
                        <a:pt x="143222" y="119083"/>
                      </a:lnTo>
                      <a:close/>
                      <a:moveTo>
                        <a:pt x="261111" y="100758"/>
                      </a:moveTo>
                      <a:cubicBezTo>
                        <a:pt x="259321" y="101119"/>
                        <a:pt x="257888" y="102203"/>
                        <a:pt x="257172" y="104371"/>
                      </a:cubicBezTo>
                      <a:cubicBezTo>
                        <a:pt x="255024" y="107983"/>
                        <a:pt x="254666" y="113764"/>
                        <a:pt x="253591" y="121713"/>
                      </a:cubicBezTo>
                      <a:cubicBezTo>
                        <a:pt x="252875" y="130022"/>
                        <a:pt x="251443" y="140139"/>
                        <a:pt x="248936" y="151700"/>
                      </a:cubicBezTo>
                      <a:cubicBezTo>
                        <a:pt x="251443" y="152061"/>
                        <a:pt x="254666" y="153145"/>
                        <a:pt x="257172" y="155313"/>
                      </a:cubicBezTo>
                      <a:cubicBezTo>
                        <a:pt x="258246" y="155674"/>
                        <a:pt x="258604" y="156035"/>
                        <a:pt x="259321" y="156758"/>
                      </a:cubicBezTo>
                      <a:cubicBezTo>
                        <a:pt x="263976" y="136887"/>
                        <a:pt x="265408" y="121351"/>
                        <a:pt x="266124" y="110513"/>
                      </a:cubicBezTo>
                      <a:cubicBezTo>
                        <a:pt x="266124" y="107261"/>
                        <a:pt x="266482" y="104371"/>
                        <a:pt x="266840" y="101841"/>
                      </a:cubicBezTo>
                      <a:cubicBezTo>
                        <a:pt x="265050" y="100758"/>
                        <a:pt x="262901" y="100396"/>
                        <a:pt x="261111" y="100758"/>
                      </a:cubicBezTo>
                      <a:close/>
                      <a:moveTo>
                        <a:pt x="36542" y="100758"/>
                      </a:moveTo>
                      <a:cubicBezTo>
                        <a:pt x="34380" y="100396"/>
                        <a:pt x="32579" y="100758"/>
                        <a:pt x="30778" y="101841"/>
                      </a:cubicBezTo>
                      <a:cubicBezTo>
                        <a:pt x="30778" y="104371"/>
                        <a:pt x="31138" y="107261"/>
                        <a:pt x="31498" y="110513"/>
                      </a:cubicBezTo>
                      <a:cubicBezTo>
                        <a:pt x="32219" y="121351"/>
                        <a:pt x="33660" y="136887"/>
                        <a:pt x="37983" y="156758"/>
                      </a:cubicBezTo>
                      <a:cubicBezTo>
                        <a:pt x="39064" y="156035"/>
                        <a:pt x="39784" y="155674"/>
                        <a:pt x="40144" y="155313"/>
                      </a:cubicBezTo>
                      <a:cubicBezTo>
                        <a:pt x="43387" y="153145"/>
                        <a:pt x="45908" y="152061"/>
                        <a:pt x="48791" y="151700"/>
                      </a:cubicBezTo>
                      <a:cubicBezTo>
                        <a:pt x="45908" y="140139"/>
                        <a:pt x="44828" y="130022"/>
                        <a:pt x="43747" y="121713"/>
                      </a:cubicBezTo>
                      <a:cubicBezTo>
                        <a:pt x="43026" y="113764"/>
                        <a:pt x="42306" y="107983"/>
                        <a:pt x="40865" y="104371"/>
                      </a:cubicBezTo>
                      <a:cubicBezTo>
                        <a:pt x="39784" y="102203"/>
                        <a:pt x="37983" y="101119"/>
                        <a:pt x="36542" y="100758"/>
                      </a:cubicBezTo>
                      <a:close/>
                      <a:moveTo>
                        <a:pt x="195590" y="90029"/>
                      </a:moveTo>
                      <a:cubicBezTo>
                        <a:pt x="194872" y="100790"/>
                        <a:pt x="192003" y="111192"/>
                        <a:pt x="188058" y="120159"/>
                      </a:cubicBezTo>
                      <a:cubicBezTo>
                        <a:pt x="195590" y="123745"/>
                        <a:pt x="202046" y="128408"/>
                        <a:pt x="207785" y="132354"/>
                      </a:cubicBezTo>
                      <a:cubicBezTo>
                        <a:pt x="217111" y="120517"/>
                        <a:pt x="223208" y="106170"/>
                        <a:pt x="223926" y="90029"/>
                      </a:cubicBezTo>
                      <a:lnTo>
                        <a:pt x="195590" y="90029"/>
                      </a:lnTo>
                      <a:close/>
                      <a:moveTo>
                        <a:pt x="152189" y="90029"/>
                      </a:moveTo>
                      <a:lnTo>
                        <a:pt x="152189" y="109757"/>
                      </a:lnTo>
                      <a:cubicBezTo>
                        <a:pt x="161874" y="110474"/>
                        <a:pt x="171199" y="112985"/>
                        <a:pt x="179808" y="116572"/>
                      </a:cubicBezTo>
                      <a:cubicBezTo>
                        <a:pt x="183395" y="108322"/>
                        <a:pt x="185547" y="99355"/>
                        <a:pt x="186264" y="90029"/>
                      </a:cubicBezTo>
                      <a:lnTo>
                        <a:pt x="152189" y="90029"/>
                      </a:lnTo>
                      <a:close/>
                      <a:moveTo>
                        <a:pt x="108789" y="90029"/>
                      </a:moveTo>
                      <a:cubicBezTo>
                        <a:pt x="109506" y="99355"/>
                        <a:pt x="112376" y="108322"/>
                        <a:pt x="115604" y="116572"/>
                      </a:cubicBezTo>
                      <a:cubicBezTo>
                        <a:pt x="124212" y="112985"/>
                        <a:pt x="133538" y="110474"/>
                        <a:pt x="143222" y="109757"/>
                      </a:cubicBezTo>
                      <a:lnTo>
                        <a:pt x="143222" y="90029"/>
                      </a:lnTo>
                      <a:lnTo>
                        <a:pt x="108789" y="90029"/>
                      </a:lnTo>
                      <a:close/>
                      <a:moveTo>
                        <a:pt x="71486" y="90029"/>
                      </a:moveTo>
                      <a:cubicBezTo>
                        <a:pt x="72562" y="106170"/>
                        <a:pt x="78301" y="120517"/>
                        <a:pt x="87268" y="132354"/>
                      </a:cubicBezTo>
                      <a:cubicBezTo>
                        <a:pt x="93365" y="128408"/>
                        <a:pt x="99822" y="123745"/>
                        <a:pt x="107354" y="120159"/>
                      </a:cubicBezTo>
                      <a:cubicBezTo>
                        <a:pt x="103409" y="111192"/>
                        <a:pt x="100539" y="100790"/>
                        <a:pt x="100180" y="90029"/>
                      </a:cubicBezTo>
                      <a:lnTo>
                        <a:pt x="71486" y="90029"/>
                      </a:lnTo>
                      <a:close/>
                      <a:moveTo>
                        <a:pt x="274360" y="86306"/>
                      </a:moveTo>
                      <a:cubicBezTo>
                        <a:pt x="279731" y="84138"/>
                        <a:pt x="283670" y="85222"/>
                        <a:pt x="285819" y="86667"/>
                      </a:cubicBezTo>
                      <a:cubicBezTo>
                        <a:pt x="292622" y="90641"/>
                        <a:pt x="294055" y="100758"/>
                        <a:pt x="294413" y="101841"/>
                      </a:cubicBezTo>
                      <a:cubicBezTo>
                        <a:pt x="309452" y="183132"/>
                        <a:pt x="266482" y="250694"/>
                        <a:pt x="239626" y="283572"/>
                      </a:cubicBezTo>
                      <a:cubicBezTo>
                        <a:pt x="236403" y="287907"/>
                        <a:pt x="231748" y="291159"/>
                        <a:pt x="226377" y="292966"/>
                      </a:cubicBezTo>
                      <a:cubicBezTo>
                        <a:pt x="226019" y="293327"/>
                        <a:pt x="225661" y="293327"/>
                        <a:pt x="224945" y="293327"/>
                      </a:cubicBezTo>
                      <a:cubicBezTo>
                        <a:pt x="223154" y="293327"/>
                        <a:pt x="221364" y="292243"/>
                        <a:pt x="221006" y="290436"/>
                      </a:cubicBezTo>
                      <a:cubicBezTo>
                        <a:pt x="219931" y="288269"/>
                        <a:pt x="221006" y="285740"/>
                        <a:pt x="223154" y="284656"/>
                      </a:cubicBezTo>
                      <a:cubicBezTo>
                        <a:pt x="226735" y="283211"/>
                        <a:pt x="230316" y="281043"/>
                        <a:pt x="232822" y="277791"/>
                      </a:cubicBezTo>
                      <a:cubicBezTo>
                        <a:pt x="258604" y="245997"/>
                        <a:pt x="300142" y="181326"/>
                        <a:pt x="285103" y="102925"/>
                      </a:cubicBezTo>
                      <a:cubicBezTo>
                        <a:pt x="285103" y="100758"/>
                        <a:pt x="283670" y="95700"/>
                        <a:pt x="281164" y="94254"/>
                      </a:cubicBezTo>
                      <a:cubicBezTo>
                        <a:pt x="280806" y="94254"/>
                        <a:pt x="280089" y="93532"/>
                        <a:pt x="277941" y="94616"/>
                      </a:cubicBezTo>
                      <a:cubicBezTo>
                        <a:pt x="276150" y="95338"/>
                        <a:pt x="275434" y="104371"/>
                        <a:pt x="275076" y="111235"/>
                      </a:cubicBezTo>
                      <a:cubicBezTo>
                        <a:pt x="273644" y="124964"/>
                        <a:pt x="272570" y="145558"/>
                        <a:pt x="264334" y="173378"/>
                      </a:cubicBezTo>
                      <a:cubicBezTo>
                        <a:pt x="262543" y="186023"/>
                        <a:pt x="253591" y="204087"/>
                        <a:pt x="237119" y="227933"/>
                      </a:cubicBezTo>
                      <a:cubicBezTo>
                        <a:pt x="236403" y="229017"/>
                        <a:pt x="234971" y="229739"/>
                        <a:pt x="233539" y="229739"/>
                      </a:cubicBezTo>
                      <a:cubicBezTo>
                        <a:pt x="232822" y="229739"/>
                        <a:pt x="231748" y="229739"/>
                        <a:pt x="231032" y="229017"/>
                      </a:cubicBezTo>
                      <a:cubicBezTo>
                        <a:pt x="229242" y="227571"/>
                        <a:pt x="228525" y="224681"/>
                        <a:pt x="229958" y="222875"/>
                      </a:cubicBezTo>
                      <a:cubicBezTo>
                        <a:pt x="249294" y="194333"/>
                        <a:pt x="254666" y="179520"/>
                        <a:pt x="255382" y="171932"/>
                      </a:cubicBezTo>
                      <a:cubicBezTo>
                        <a:pt x="256098" y="164706"/>
                        <a:pt x="253591" y="163261"/>
                        <a:pt x="252517" y="162900"/>
                      </a:cubicBezTo>
                      <a:cubicBezTo>
                        <a:pt x="248936" y="160371"/>
                        <a:pt x="245713" y="159648"/>
                        <a:pt x="242849" y="160732"/>
                      </a:cubicBezTo>
                      <a:cubicBezTo>
                        <a:pt x="239626" y="161816"/>
                        <a:pt x="237478" y="165429"/>
                        <a:pt x="237478" y="165429"/>
                      </a:cubicBezTo>
                      <a:cubicBezTo>
                        <a:pt x="221006" y="199029"/>
                        <a:pt x="214202" y="203365"/>
                        <a:pt x="206682" y="208062"/>
                      </a:cubicBezTo>
                      <a:cubicBezTo>
                        <a:pt x="200595" y="212036"/>
                        <a:pt x="194507" y="215649"/>
                        <a:pt x="180900" y="238772"/>
                      </a:cubicBezTo>
                      <a:cubicBezTo>
                        <a:pt x="176961" y="244914"/>
                        <a:pt x="175887" y="252501"/>
                        <a:pt x="178036" y="259365"/>
                      </a:cubicBezTo>
                      <a:cubicBezTo>
                        <a:pt x="178752" y="262256"/>
                        <a:pt x="177320" y="264423"/>
                        <a:pt x="174813" y="265146"/>
                      </a:cubicBezTo>
                      <a:cubicBezTo>
                        <a:pt x="174455" y="265146"/>
                        <a:pt x="174097" y="265146"/>
                        <a:pt x="173739" y="265146"/>
                      </a:cubicBezTo>
                      <a:cubicBezTo>
                        <a:pt x="171590" y="265146"/>
                        <a:pt x="169800" y="264062"/>
                        <a:pt x="169442" y="262256"/>
                      </a:cubicBezTo>
                      <a:cubicBezTo>
                        <a:pt x="166935" y="252501"/>
                        <a:pt x="168009" y="242385"/>
                        <a:pt x="173023" y="234075"/>
                      </a:cubicBezTo>
                      <a:cubicBezTo>
                        <a:pt x="188062" y="209146"/>
                        <a:pt x="195582" y="204449"/>
                        <a:pt x="202027" y="200475"/>
                      </a:cubicBezTo>
                      <a:cubicBezTo>
                        <a:pt x="208473" y="196139"/>
                        <a:pt x="214202" y="192526"/>
                        <a:pt x="229600" y="161455"/>
                      </a:cubicBezTo>
                      <a:cubicBezTo>
                        <a:pt x="229958" y="160732"/>
                        <a:pt x="232822" y="154590"/>
                        <a:pt x="239626" y="152423"/>
                      </a:cubicBezTo>
                      <a:cubicBezTo>
                        <a:pt x="242849" y="140139"/>
                        <a:pt x="243923" y="129300"/>
                        <a:pt x="244639" y="120990"/>
                      </a:cubicBezTo>
                      <a:cubicBezTo>
                        <a:pt x="245713" y="112319"/>
                        <a:pt x="246430" y="105093"/>
                        <a:pt x="248936" y="100396"/>
                      </a:cubicBezTo>
                      <a:cubicBezTo>
                        <a:pt x="251085" y="95700"/>
                        <a:pt x="255024" y="92809"/>
                        <a:pt x="259321" y="91725"/>
                      </a:cubicBezTo>
                      <a:cubicBezTo>
                        <a:pt x="262543" y="91364"/>
                        <a:pt x="265766" y="91725"/>
                        <a:pt x="268631" y="92809"/>
                      </a:cubicBezTo>
                      <a:cubicBezTo>
                        <a:pt x="269705" y="89919"/>
                        <a:pt x="271495" y="87390"/>
                        <a:pt x="274360" y="86306"/>
                      </a:cubicBezTo>
                      <a:close/>
                      <a:moveTo>
                        <a:pt x="23212" y="86306"/>
                      </a:moveTo>
                      <a:cubicBezTo>
                        <a:pt x="26094" y="87390"/>
                        <a:pt x="27896" y="89919"/>
                        <a:pt x="28976" y="92809"/>
                      </a:cubicBezTo>
                      <a:cubicBezTo>
                        <a:pt x="32219" y="91725"/>
                        <a:pt x="35101" y="91364"/>
                        <a:pt x="37983" y="91725"/>
                      </a:cubicBezTo>
                      <a:cubicBezTo>
                        <a:pt x="43026" y="92809"/>
                        <a:pt x="46629" y="95700"/>
                        <a:pt x="48791" y="100396"/>
                      </a:cubicBezTo>
                      <a:cubicBezTo>
                        <a:pt x="51312" y="105093"/>
                        <a:pt x="52033" y="112319"/>
                        <a:pt x="53114" y="120990"/>
                      </a:cubicBezTo>
                      <a:cubicBezTo>
                        <a:pt x="53834" y="129300"/>
                        <a:pt x="54915" y="140139"/>
                        <a:pt x="58157" y="152423"/>
                      </a:cubicBezTo>
                      <a:cubicBezTo>
                        <a:pt x="65002" y="154590"/>
                        <a:pt x="67884" y="161094"/>
                        <a:pt x="68245" y="161816"/>
                      </a:cubicBezTo>
                      <a:cubicBezTo>
                        <a:pt x="83736" y="192526"/>
                        <a:pt x="89500" y="196139"/>
                        <a:pt x="95984" y="200475"/>
                      </a:cubicBezTo>
                      <a:cubicBezTo>
                        <a:pt x="102829" y="204449"/>
                        <a:pt x="110034" y="209146"/>
                        <a:pt x="124805" y="234075"/>
                      </a:cubicBezTo>
                      <a:cubicBezTo>
                        <a:pt x="129849" y="242385"/>
                        <a:pt x="131650" y="252501"/>
                        <a:pt x="128768" y="262256"/>
                      </a:cubicBezTo>
                      <a:cubicBezTo>
                        <a:pt x="128408" y="264062"/>
                        <a:pt x="126246" y="265146"/>
                        <a:pt x="124445" y="265146"/>
                      </a:cubicBezTo>
                      <a:cubicBezTo>
                        <a:pt x="124084" y="265146"/>
                        <a:pt x="123724" y="265146"/>
                        <a:pt x="123364" y="265146"/>
                      </a:cubicBezTo>
                      <a:cubicBezTo>
                        <a:pt x="120842" y="264423"/>
                        <a:pt x="119401" y="262256"/>
                        <a:pt x="120122" y="259365"/>
                      </a:cubicBezTo>
                      <a:cubicBezTo>
                        <a:pt x="121923" y="252501"/>
                        <a:pt x="121202" y="244914"/>
                        <a:pt x="117240" y="238772"/>
                      </a:cubicBezTo>
                      <a:cubicBezTo>
                        <a:pt x="103190" y="215649"/>
                        <a:pt x="97065" y="212036"/>
                        <a:pt x="91301" y="208062"/>
                      </a:cubicBezTo>
                      <a:cubicBezTo>
                        <a:pt x="83375" y="203365"/>
                        <a:pt x="76531" y="199029"/>
                        <a:pt x="60319" y="165429"/>
                      </a:cubicBezTo>
                      <a:cubicBezTo>
                        <a:pt x="59958" y="165429"/>
                        <a:pt x="58157" y="161816"/>
                        <a:pt x="54555" y="160732"/>
                      </a:cubicBezTo>
                      <a:cubicBezTo>
                        <a:pt x="52033" y="159648"/>
                        <a:pt x="48791" y="160732"/>
                        <a:pt x="44828" y="162900"/>
                      </a:cubicBezTo>
                      <a:cubicBezTo>
                        <a:pt x="44107" y="163261"/>
                        <a:pt x="41225" y="164706"/>
                        <a:pt x="42306" y="171932"/>
                      </a:cubicBezTo>
                      <a:cubicBezTo>
                        <a:pt x="43026" y="179520"/>
                        <a:pt x="48070" y="194333"/>
                        <a:pt x="67884" y="222875"/>
                      </a:cubicBezTo>
                      <a:cubicBezTo>
                        <a:pt x="69325" y="224681"/>
                        <a:pt x="68965" y="227571"/>
                        <a:pt x="66804" y="229017"/>
                      </a:cubicBezTo>
                      <a:cubicBezTo>
                        <a:pt x="65723" y="229739"/>
                        <a:pt x="65002" y="229739"/>
                        <a:pt x="64282" y="229739"/>
                      </a:cubicBezTo>
                      <a:cubicBezTo>
                        <a:pt x="62841" y="229739"/>
                        <a:pt x="61400" y="229017"/>
                        <a:pt x="60319" y="227933"/>
                      </a:cubicBezTo>
                      <a:cubicBezTo>
                        <a:pt x="43747" y="204087"/>
                        <a:pt x="34741" y="186023"/>
                        <a:pt x="33299" y="173378"/>
                      </a:cubicBezTo>
                      <a:cubicBezTo>
                        <a:pt x="25374" y="145558"/>
                        <a:pt x="23573" y="124964"/>
                        <a:pt x="22492" y="111235"/>
                      </a:cubicBezTo>
                      <a:cubicBezTo>
                        <a:pt x="21771" y="104371"/>
                        <a:pt x="21411" y="95338"/>
                        <a:pt x="19610" y="94616"/>
                      </a:cubicBezTo>
                      <a:cubicBezTo>
                        <a:pt x="17448" y="93532"/>
                        <a:pt x="16728" y="94254"/>
                        <a:pt x="16007" y="94254"/>
                      </a:cubicBezTo>
                      <a:cubicBezTo>
                        <a:pt x="13846" y="95700"/>
                        <a:pt x="12405" y="100758"/>
                        <a:pt x="12044" y="102925"/>
                      </a:cubicBezTo>
                      <a:cubicBezTo>
                        <a:pt x="-2726" y="181326"/>
                        <a:pt x="38703" y="245997"/>
                        <a:pt x="65002" y="277791"/>
                      </a:cubicBezTo>
                      <a:cubicBezTo>
                        <a:pt x="67524" y="281043"/>
                        <a:pt x="70766" y="283211"/>
                        <a:pt x="74369" y="284656"/>
                      </a:cubicBezTo>
                      <a:cubicBezTo>
                        <a:pt x="76531" y="285740"/>
                        <a:pt x="77972" y="288269"/>
                        <a:pt x="77251" y="290436"/>
                      </a:cubicBezTo>
                      <a:cubicBezTo>
                        <a:pt x="76531" y="292243"/>
                        <a:pt x="74369" y="293327"/>
                        <a:pt x="72928" y="293327"/>
                      </a:cubicBezTo>
                      <a:cubicBezTo>
                        <a:pt x="72207" y="293327"/>
                        <a:pt x="71847" y="293327"/>
                        <a:pt x="71127" y="292966"/>
                      </a:cubicBezTo>
                      <a:cubicBezTo>
                        <a:pt x="66083" y="291159"/>
                        <a:pt x="61400" y="287907"/>
                        <a:pt x="58157" y="283572"/>
                      </a:cubicBezTo>
                      <a:cubicBezTo>
                        <a:pt x="30778" y="250694"/>
                        <a:pt x="-12453" y="183132"/>
                        <a:pt x="3398" y="101480"/>
                      </a:cubicBezTo>
                      <a:cubicBezTo>
                        <a:pt x="3398" y="100758"/>
                        <a:pt x="4839" y="90641"/>
                        <a:pt x="11684" y="86667"/>
                      </a:cubicBezTo>
                      <a:cubicBezTo>
                        <a:pt x="14206" y="85222"/>
                        <a:pt x="17808" y="84138"/>
                        <a:pt x="23212" y="86306"/>
                      </a:cubicBezTo>
                      <a:close/>
                      <a:moveTo>
                        <a:pt x="179808" y="54878"/>
                      </a:moveTo>
                      <a:cubicBezTo>
                        <a:pt x="171199" y="58465"/>
                        <a:pt x="161874" y="60976"/>
                        <a:pt x="152189" y="61335"/>
                      </a:cubicBezTo>
                      <a:lnTo>
                        <a:pt x="152189" y="81062"/>
                      </a:lnTo>
                      <a:lnTo>
                        <a:pt x="186264" y="81062"/>
                      </a:lnTo>
                      <a:cubicBezTo>
                        <a:pt x="185547" y="71737"/>
                        <a:pt x="183395" y="63128"/>
                        <a:pt x="179808" y="54878"/>
                      </a:cubicBezTo>
                      <a:close/>
                      <a:moveTo>
                        <a:pt x="115604" y="54878"/>
                      </a:moveTo>
                      <a:cubicBezTo>
                        <a:pt x="112376" y="63128"/>
                        <a:pt x="109506" y="71737"/>
                        <a:pt x="108789" y="81062"/>
                      </a:cubicBezTo>
                      <a:lnTo>
                        <a:pt x="143222" y="81062"/>
                      </a:lnTo>
                      <a:lnTo>
                        <a:pt x="143222" y="61335"/>
                      </a:lnTo>
                      <a:cubicBezTo>
                        <a:pt x="133538" y="60976"/>
                        <a:pt x="124212" y="58465"/>
                        <a:pt x="115604" y="54878"/>
                      </a:cubicBezTo>
                      <a:close/>
                      <a:moveTo>
                        <a:pt x="207785" y="38738"/>
                      </a:moveTo>
                      <a:cubicBezTo>
                        <a:pt x="202046" y="43042"/>
                        <a:pt x="195590" y="47346"/>
                        <a:pt x="188058" y="51292"/>
                      </a:cubicBezTo>
                      <a:cubicBezTo>
                        <a:pt x="192003" y="60259"/>
                        <a:pt x="194872" y="70302"/>
                        <a:pt x="195590" y="81062"/>
                      </a:cubicBezTo>
                      <a:lnTo>
                        <a:pt x="223926" y="81062"/>
                      </a:lnTo>
                      <a:cubicBezTo>
                        <a:pt x="223208" y="64922"/>
                        <a:pt x="217111" y="50574"/>
                        <a:pt x="207785" y="38738"/>
                      </a:cubicBezTo>
                      <a:close/>
                      <a:moveTo>
                        <a:pt x="87627" y="38738"/>
                      </a:moveTo>
                      <a:cubicBezTo>
                        <a:pt x="78301" y="50574"/>
                        <a:pt x="72562" y="64922"/>
                        <a:pt x="71486" y="81062"/>
                      </a:cubicBezTo>
                      <a:lnTo>
                        <a:pt x="100180" y="81062"/>
                      </a:lnTo>
                      <a:cubicBezTo>
                        <a:pt x="100539" y="70302"/>
                        <a:pt x="103409" y="60617"/>
                        <a:pt x="107354" y="51292"/>
                      </a:cubicBezTo>
                      <a:cubicBezTo>
                        <a:pt x="100180" y="47346"/>
                        <a:pt x="93365" y="43042"/>
                        <a:pt x="87627" y="38738"/>
                      </a:cubicBezTo>
                      <a:close/>
                      <a:moveTo>
                        <a:pt x="152189" y="15065"/>
                      </a:moveTo>
                      <a:lnTo>
                        <a:pt x="152189" y="52368"/>
                      </a:lnTo>
                      <a:cubicBezTo>
                        <a:pt x="160439" y="51650"/>
                        <a:pt x="168330" y="49857"/>
                        <a:pt x="175504" y="46629"/>
                      </a:cubicBezTo>
                      <a:cubicBezTo>
                        <a:pt x="168330" y="32999"/>
                        <a:pt x="158646" y="21880"/>
                        <a:pt x="152189" y="15065"/>
                      </a:cubicBezTo>
                      <a:close/>
                      <a:moveTo>
                        <a:pt x="143222" y="15065"/>
                      </a:moveTo>
                      <a:cubicBezTo>
                        <a:pt x="136766" y="21880"/>
                        <a:pt x="127082" y="32999"/>
                        <a:pt x="119549" y="46629"/>
                      </a:cubicBezTo>
                      <a:cubicBezTo>
                        <a:pt x="127082" y="49857"/>
                        <a:pt x="134973" y="51650"/>
                        <a:pt x="143222" y="52368"/>
                      </a:cubicBezTo>
                      <a:lnTo>
                        <a:pt x="143222" y="15065"/>
                      </a:lnTo>
                      <a:close/>
                      <a:moveTo>
                        <a:pt x="160080" y="10402"/>
                      </a:moveTo>
                      <a:cubicBezTo>
                        <a:pt x="166895" y="17576"/>
                        <a:pt x="176580" y="28695"/>
                        <a:pt x="184112" y="43042"/>
                      </a:cubicBezTo>
                      <a:cubicBezTo>
                        <a:pt x="190568" y="39455"/>
                        <a:pt x="196666" y="35868"/>
                        <a:pt x="202046" y="31923"/>
                      </a:cubicBezTo>
                      <a:cubicBezTo>
                        <a:pt x="190568" y="20445"/>
                        <a:pt x="175862" y="12913"/>
                        <a:pt x="160080" y="10402"/>
                      </a:cubicBezTo>
                      <a:close/>
                      <a:moveTo>
                        <a:pt x="135331" y="10402"/>
                      </a:moveTo>
                      <a:cubicBezTo>
                        <a:pt x="119549" y="12913"/>
                        <a:pt x="104843" y="20445"/>
                        <a:pt x="93365" y="31923"/>
                      </a:cubicBezTo>
                      <a:cubicBezTo>
                        <a:pt x="98387" y="35868"/>
                        <a:pt x="104485" y="39455"/>
                        <a:pt x="111300" y="43042"/>
                      </a:cubicBezTo>
                      <a:cubicBezTo>
                        <a:pt x="118832" y="29053"/>
                        <a:pt x="128158" y="17576"/>
                        <a:pt x="135331" y="10402"/>
                      </a:cubicBezTo>
                      <a:close/>
                      <a:moveTo>
                        <a:pt x="147526" y="0"/>
                      </a:moveTo>
                      <a:cubicBezTo>
                        <a:pt x="171558" y="0"/>
                        <a:pt x="194155" y="10402"/>
                        <a:pt x="210296" y="27977"/>
                      </a:cubicBezTo>
                      <a:cubicBezTo>
                        <a:pt x="210296" y="27977"/>
                        <a:pt x="212448" y="29771"/>
                        <a:pt x="212448" y="30129"/>
                      </a:cubicBezTo>
                      <a:cubicBezTo>
                        <a:pt x="225002" y="45194"/>
                        <a:pt x="233251" y="64563"/>
                        <a:pt x="233251" y="85725"/>
                      </a:cubicBezTo>
                      <a:cubicBezTo>
                        <a:pt x="233251" y="106887"/>
                        <a:pt x="225002" y="126256"/>
                        <a:pt x="212448" y="140962"/>
                      </a:cubicBezTo>
                      <a:cubicBezTo>
                        <a:pt x="212448" y="141321"/>
                        <a:pt x="210296" y="143832"/>
                        <a:pt x="210296" y="143832"/>
                      </a:cubicBezTo>
                      <a:cubicBezTo>
                        <a:pt x="194155" y="161048"/>
                        <a:pt x="171558" y="171091"/>
                        <a:pt x="147526" y="171091"/>
                      </a:cubicBezTo>
                      <a:cubicBezTo>
                        <a:pt x="123495" y="171091"/>
                        <a:pt x="100539" y="160690"/>
                        <a:pt x="84040" y="142397"/>
                      </a:cubicBezTo>
                      <a:cubicBezTo>
                        <a:pt x="84040" y="142397"/>
                        <a:pt x="83322" y="141680"/>
                        <a:pt x="83322" y="141321"/>
                      </a:cubicBezTo>
                      <a:cubicBezTo>
                        <a:pt x="70051" y="126256"/>
                        <a:pt x="62160" y="106887"/>
                        <a:pt x="62160" y="85725"/>
                      </a:cubicBezTo>
                      <a:cubicBezTo>
                        <a:pt x="62160" y="64204"/>
                        <a:pt x="70051" y="44835"/>
                        <a:pt x="83322" y="29771"/>
                      </a:cubicBezTo>
                      <a:cubicBezTo>
                        <a:pt x="83322" y="29771"/>
                        <a:pt x="83322" y="29771"/>
                        <a:pt x="83322" y="29412"/>
                      </a:cubicBezTo>
                      <a:cubicBezTo>
                        <a:pt x="99463" y="10761"/>
                        <a:pt x="123136" y="0"/>
                        <a:pt x="147526" y="0"/>
                      </a:cubicBezTo>
                      <a:close/>
                    </a:path>
                  </a:pathLst>
                </a:custGeom>
                <a:solidFill>
                  <a:srgbClr val="689C41"/>
                </a:solidFill>
                <a:ln>
                  <a:noFill/>
                </a:ln>
                <a:effectLst/>
              </p:spPr>
              <p:txBody>
                <a:bodyPr anchor="ctr"/>
                <a:lstStyle>
                  <a:defPPr>
                    <a:defRPr lang="en-US"/>
                  </a:defPPr>
                  <a:lvl1pPr marL="0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09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17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326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434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543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652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760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6869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3599" dirty="0">
                    <a:latin typeface="Lato Light" panose="020F0502020204030203" pitchFamily="34" charset="0"/>
                  </a:endParaRPr>
                </a:p>
              </p:txBody>
            </p:sp>
          </p:grpSp>
        </p:grpSp>
        <p:sp>
          <p:nvSpPr>
            <p:cNvPr id="10" name="TextBox 184">
              <a:extLst>
                <a:ext uri="{FF2B5EF4-FFF2-40B4-BE49-F238E27FC236}">
                  <a16:creationId xmlns:a16="http://schemas.microsoft.com/office/drawing/2014/main" id="{9F8FF05F-0E1D-4282-A6AA-1F6B4BE38AB8}"/>
                </a:ext>
              </a:extLst>
            </p:cNvPr>
            <p:cNvSpPr txBox="1"/>
            <p:nvPr/>
          </p:nvSpPr>
          <p:spPr>
            <a:xfrm>
              <a:off x="8302528" y="3018649"/>
              <a:ext cx="98185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9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17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26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34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43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52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60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69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ircular </a:t>
              </a:r>
              <a:br>
                <a:rPr lang="en-GB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GB" sz="1200" b="1" dirty="0">
                  <a:solidFill>
                    <a:schemeClr val="bg1"/>
                  </a:solidFill>
                </a:rPr>
                <a:t>hardware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D9D17A2-37FB-9906-96F3-1379CD7ABCFC}"/>
                </a:ext>
              </a:extLst>
            </p:cNvPr>
            <p:cNvGrpSpPr/>
            <p:nvPr/>
          </p:nvGrpSpPr>
          <p:grpSpPr>
            <a:xfrm>
              <a:off x="9183758" y="2286323"/>
              <a:ext cx="1641960" cy="1193991"/>
              <a:chOff x="9183758" y="2286323"/>
              <a:chExt cx="3283920" cy="2387982"/>
            </a:xfrm>
          </p:grpSpPr>
          <p:sp>
            <p:nvSpPr>
              <p:cNvPr id="45" name="TextBox 220">
                <a:extLst>
                  <a:ext uri="{FF2B5EF4-FFF2-40B4-BE49-F238E27FC236}">
                    <a16:creationId xmlns:a16="http://schemas.microsoft.com/office/drawing/2014/main" id="{9F924327-ACA6-F969-B506-4010F7D17E5B}"/>
                  </a:ext>
                </a:extLst>
              </p:cNvPr>
              <p:cNvSpPr txBox="1"/>
              <p:nvPr/>
            </p:nvSpPr>
            <p:spPr>
              <a:xfrm>
                <a:off x="9183758" y="3750975"/>
                <a:ext cx="328392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0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17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326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434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543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652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76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686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GB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fficient</a:t>
                </a:r>
              </a:p>
              <a:p>
                <a:pPr algn="ctr"/>
                <a:r>
                  <a:rPr lang="en-GB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nergy mgt.</a:t>
                </a:r>
              </a:p>
            </p:txBody>
          </p: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C98A7B6D-2F18-CEFF-FAF7-4C29D0756E35}"/>
                  </a:ext>
                </a:extLst>
              </p:cNvPr>
              <p:cNvGrpSpPr/>
              <p:nvPr/>
            </p:nvGrpSpPr>
            <p:grpSpPr>
              <a:xfrm>
                <a:off x="10003318" y="2286323"/>
                <a:ext cx="1439625" cy="1439625"/>
                <a:chOff x="10003318" y="2286323"/>
                <a:chExt cx="1439625" cy="1439625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577F82C6-1EBB-0626-AAD0-E1BF66AA03A5}"/>
                    </a:ext>
                  </a:extLst>
                </p:cNvPr>
                <p:cNvSpPr/>
                <p:nvPr/>
              </p:nvSpPr>
              <p:spPr>
                <a:xfrm>
                  <a:off x="10003318" y="2286323"/>
                  <a:ext cx="1439625" cy="1439625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rgbClr val="689C4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09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17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326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434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543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652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760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6869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400" dirty="0"/>
                </a:p>
              </p:txBody>
            </p:sp>
            <p:sp>
              <p:nvSpPr>
                <p:cNvPr id="48" name="Freeform 42">
                  <a:extLst>
                    <a:ext uri="{FF2B5EF4-FFF2-40B4-BE49-F238E27FC236}">
                      <a16:creationId xmlns:a16="http://schemas.microsoft.com/office/drawing/2014/main" id="{1E978D9B-DD66-8898-5379-23EA138EC9F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10294981" y="2454018"/>
                  <a:ext cx="900000" cy="966291"/>
                </a:xfrm>
                <a:custGeom>
                  <a:avLst/>
                  <a:gdLst>
                    <a:gd name="connsiteX0" fmla="*/ 45498 w 558129"/>
                    <a:gd name="connsiteY0" fmla="*/ 523875 h 599238"/>
                    <a:gd name="connsiteX1" fmla="*/ 55203 w 558129"/>
                    <a:gd name="connsiteY1" fmla="*/ 533220 h 599238"/>
                    <a:gd name="connsiteX2" fmla="*/ 45498 w 558129"/>
                    <a:gd name="connsiteY2" fmla="*/ 542566 h 599238"/>
                    <a:gd name="connsiteX3" fmla="*/ 36512 w 558129"/>
                    <a:gd name="connsiteY3" fmla="*/ 533220 h 599238"/>
                    <a:gd name="connsiteX4" fmla="*/ 45498 w 558129"/>
                    <a:gd name="connsiteY4" fmla="*/ 523875 h 599238"/>
                    <a:gd name="connsiteX5" fmla="*/ 495071 w 558129"/>
                    <a:gd name="connsiteY5" fmla="*/ 438625 h 599238"/>
                    <a:gd name="connsiteX6" fmla="*/ 457626 w 558129"/>
                    <a:gd name="connsiteY6" fmla="*/ 449789 h 599238"/>
                    <a:gd name="connsiteX7" fmla="*/ 394257 w 558129"/>
                    <a:gd name="connsiteY7" fmla="*/ 470675 h 599238"/>
                    <a:gd name="connsiteX8" fmla="*/ 396057 w 558129"/>
                    <a:gd name="connsiteY8" fmla="*/ 490842 h 599238"/>
                    <a:gd name="connsiteX9" fmla="*/ 394977 w 558129"/>
                    <a:gd name="connsiteY9" fmla="*/ 497684 h 599238"/>
                    <a:gd name="connsiteX10" fmla="*/ 492911 w 558129"/>
                    <a:gd name="connsiteY10" fmla="*/ 464193 h 599238"/>
                    <a:gd name="connsiteX11" fmla="*/ 510913 w 558129"/>
                    <a:gd name="connsiteY11" fmla="*/ 456991 h 599238"/>
                    <a:gd name="connsiteX12" fmla="*/ 507313 w 558129"/>
                    <a:gd name="connsiteY12" fmla="*/ 443667 h 599238"/>
                    <a:gd name="connsiteX13" fmla="*/ 495071 w 558129"/>
                    <a:gd name="connsiteY13" fmla="*/ 438625 h 599238"/>
                    <a:gd name="connsiteX14" fmla="*/ 117017 w 558129"/>
                    <a:gd name="connsiteY14" fmla="*/ 422059 h 599238"/>
                    <a:gd name="connsiteX15" fmla="*/ 100815 w 558129"/>
                    <a:gd name="connsiteY15" fmla="*/ 428542 h 599238"/>
                    <a:gd name="connsiteX16" fmla="*/ 93614 w 558129"/>
                    <a:gd name="connsiteY16" fmla="*/ 445467 h 599238"/>
                    <a:gd name="connsiteX17" fmla="*/ 93253 w 558129"/>
                    <a:gd name="connsiteY17" fmla="*/ 538738 h 599238"/>
                    <a:gd name="connsiteX18" fmla="*/ 110536 w 558129"/>
                    <a:gd name="connsiteY18" fmla="*/ 561426 h 599238"/>
                    <a:gd name="connsiteX19" fmla="*/ 526756 w 558129"/>
                    <a:gd name="connsiteY19" fmla="*/ 494443 h 599238"/>
                    <a:gd name="connsiteX20" fmla="*/ 540077 w 558129"/>
                    <a:gd name="connsiteY20" fmla="*/ 477158 h 599238"/>
                    <a:gd name="connsiteX21" fmla="*/ 536117 w 558129"/>
                    <a:gd name="connsiteY21" fmla="*/ 469955 h 599238"/>
                    <a:gd name="connsiteX22" fmla="*/ 499752 w 558129"/>
                    <a:gd name="connsiteY22" fmla="*/ 481119 h 599238"/>
                    <a:gd name="connsiteX23" fmla="*/ 368333 w 558129"/>
                    <a:gd name="connsiteY23" fmla="*/ 522172 h 599238"/>
                    <a:gd name="connsiteX24" fmla="*/ 311445 w 558129"/>
                    <a:gd name="connsiteY24" fmla="*/ 529735 h 599238"/>
                    <a:gd name="connsiteX25" fmla="*/ 235114 w 558129"/>
                    <a:gd name="connsiteY25" fmla="*/ 523613 h 599238"/>
                    <a:gd name="connsiteX26" fmla="*/ 227193 w 558129"/>
                    <a:gd name="connsiteY26" fmla="*/ 513530 h 599238"/>
                    <a:gd name="connsiteX27" fmla="*/ 237274 w 558129"/>
                    <a:gd name="connsiteY27" fmla="*/ 505607 h 599238"/>
                    <a:gd name="connsiteX28" fmla="*/ 362572 w 558129"/>
                    <a:gd name="connsiteY28" fmla="*/ 504887 h 599238"/>
                    <a:gd name="connsiteX29" fmla="*/ 362932 w 558129"/>
                    <a:gd name="connsiteY29" fmla="*/ 504887 h 599238"/>
                    <a:gd name="connsiteX30" fmla="*/ 378054 w 558129"/>
                    <a:gd name="connsiteY30" fmla="*/ 489402 h 599238"/>
                    <a:gd name="connsiteX31" fmla="*/ 372653 w 558129"/>
                    <a:gd name="connsiteY31" fmla="*/ 467794 h 599238"/>
                    <a:gd name="connsiteX32" fmla="*/ 356811 w 558129"/>
                    <a:gd name="connsiteY32" fmla="*/ 462033 h 599238"/>
                    <a:gd name="connsiteX33" fmla="*/ 242675 w 558129"/>
                    <a:gd name="connsiteY33" fmla="*/ 443667 h 599238"/>
                    <a:gd name="connsiteX34" fmla="*/ 117377 w 558129"/>
                    <a:gd name="connsiteY34" fmla="*/ 422059 h 599238"/>
                    <a:gd name="connsiteX35" fmla="*/ 21603 w 558129"/>
                    <a:gd name="connsiteY35" fmla="*/ 422059 h 599238"/>
                    <a:gd name="connsiteX36" fmla="*/ 18363 w 558129"/>
                    <a:gd name="connsiteY36" fmla="*/ 425300 h 599238"/>
                    <a:gd name="connsiteX37" fmla="*/ 18363 w 558129"/>
                    <a:gd name="connsiteY37" fmla="*/ 558545 h 599238"/>
                    <a:gd name="connsiteX38" fmla="*/ 21603 w 558129"/>
                    <a:gd name="connsiteY38" fmla="*/ 562146 h 599238"/>
                    <a:gd name="connsiteX39" fmla="*/ 72010 w 558129"/>
                    <a:gd name="connsiteY39" fmla="*/ 562146 h 599238"/>
                    <a:gd name="connsiteX40" fmla="*/ 75251 w 558129"/>
                    <a:gd name="connsiteY40" fmla="*/ 558545 h 599238"/>
                    <a:gd name="connsiteX41" fmla="*/ 75251 w 558129"/>
                    <a:gd name="connsiteY41" fmla="*/ 425300 h 599238"/>
                    <a:gd name="connsiteX42" fmla="*/ 72010 w 558129"/>
                    <a:gd name="connsiteY42" fmla="*/ 422059 h 599238"/>
                    <a:gd name="connsiteX43" fmla="*/ 241235 w 558129"/>
                    <a:gd name="connsiteY43" fmla="*/ 168536 h 599238"/>
                    <a:gd name="connsiteX44" fmla="*/ 241235 w 558129"/>
                    <a:gd name="connsiteY44" fmla="*/ 204908 h 599238"/>
                    <a:gd name="connsiteX45" fmla="*/ 286961 w 558129"/>
                    <a:gd name="connsiteY45" fmla="*/ 251003 h 599238"/>
                    <a:gd name="connsiteX46" fmla="*/ 334848 w 558129"/>
                    <a:gd name="connsiteY46" fmla="*/ 251003 h 599238"/>
                    <a:gd name="connsiteX47" fmla="*/ 380575 w 558129"/>
                    <a:gd name="connsiteY47" fmla="*/ 204908 h 599238"/>
                    <a:gd name="connsiteX48" fmla="*/ 380575 w 558129"/>
                    <a:gd name="connsiteY48" fmla="*/ 168536 h 599238"/>
                    <a:gd name="connsiteX49" fmla="*/ 241235 w 558129"/>
                    <a:gd name="connsiteY49" fmla="*/ 110917 h 599238"/>
                    <a:gd name="connsiteX50" fmla="*/ 241235 w 558129"/>
                    <a:gd name="connsiteY50" fmla="*/ 150530 h 599238"/>
                    <a:gd name="connsiteX51" fmla="*/ 380575 w 558129"/>
                    <a:gd name="connsiteY51" fmla="*/ 150530 h 599238"/>
                    <a:gd name="connsiteX52" fmla="*/ 380575 w 558129"/>
                    <a:gd name="connsiteY52" fmla="*/ 110917 h 599238"/>
                    <a:gd name="connsiteX53" fmla="*/ 356811 w 558129"/>
                    <a:gd name="connsiteY53" fmla="*/ 110917 h 599238"/>
                    <a:gd name="connsiteX54" fmla="*/ 264998 w 558129"/>
                    <a:gd name="connsiteY54" fmla="*/ 110917 h 599238"/>
                    <a:gd name="connsiteX55" fmla="*/ 264998 w 558129"/>
                    <a:gd name="connsiteY55" fmla="*/ 0 h 599238"/>
                    <a:gd name="connsiteX56" fmla="*/ 273999 w 558129"/>
                    <a:gd name="connsiteY56" fmla="*/ 9003 h 599238"/>
                    <a:gd name="connsiteX57" fmla="*/ 273999 w 558129"/>
                    <a:gd name="connsiteY57" fmla="*/ 92911 h 599238"/>
                    <a:gd name="connsiteX58" fmla="*/ 347810 w 558129"/>
                    <a:gd name="connsiteY58" fmla="*/ 92911 h 599238"/>
                    <a:gd name="connsiteX59" fmla="*/ 347810 w 558129"/>
                    <a:gd name="connsiteY59" fmla="*/ 9003 h 599238"/>
                    <a:gd name="connsiteX60" fmla="*/ 356811 w 558129"/>
                    <a:gd name="connsiteY60" fmla="*/ 0 h 599238"/>
                    <a:gd name="connsiteX61" fmla="*/ 365813 w 558129"/>
                    <a:gd name="connsiteY61" fmla="*/ 9003 h 599238"/>
                    <a:gd name="connsiteX62" fmla="*/ 365813 w 558129"/>
                    <a:gd name="connsiteY62" fmla="*/ 92911 h 599238"/>
                    <a:gd name="connsiteX63" fmla="*/ 389936 w 558129"/>
                    <a:gd name="connsiteY63" fmla="*/ 92911 h 599238"/>
                    <a:gd name="connsiteX64" fmla="*/ 408299 w 558129"/>
                    <a:gd name="connsiteY64" fmla="*/ 92911 h 599238"/>
                    <a:gd name="connsiteX65" fmla="*/ 417300 w 558129"/>
                    <a:gd name="connsiteY65" fmla="*/ 101914 h 599238"/>
                    <a:gd name="connsiteX66" fmla="*/ 408299 w 558129"/>
                    <a:gd name="connsiteY66" fmla="*/ 110917 h 599238"/>
                    <a:gd name="connsiteX67" fmla="*/ 398937 w 558129"/>
                    <a:gd name="connsiteY67" fmla="*/ 110917 h 599238"/>
                    <a:gd name="connsiteX68" fmla="*/ 398937 w 558129"/>
                    <a:gd name="connsiteY68" fmla="*/ 204908 h 599238"/>
                    <a:gd name="connsiteX69" fmla="*/ 334848 w 558129"/>
                    <a:gd name="connsiteY69" fmla="*/ 269009 h 599238"/>
                    <a:gd name="connsiteX70" fmla="*/ 315765 w 558129"/>
                    <a:gd name="connsiteY70" fmla="*/ 269009 h 599238"/>
                    <a:gd name="connsiteX71" fmla="*/ 282641 w 558129"/>
                    <a:gd name="connsiteY71" fmla="*/ 351116 h 599238"/>
                    <a:gd name="connsiteX72" fmla="*/ 343129 w 558129"/>
                    <a:gd name="connsiteY72" fmla="*/ 342473 h 599238"/>
                    <a:gd name="connsiteX73" fmla="*/ 351410 w 558129"/>
                    <a:gd name="connsiteY73" fmla="*/ 345714 h 599238"/>
                    <a:gd name="connsiteX74" fmla="*/ 352851 w 558129"/>
                    <a:gd name="connsiteY74" fmla="*/ 355077 h 599238"/>
                    <a:gd name="connsiteX75" fmla="*/ 316846 w 558129"/>
                    <a:gd name="connsiteY75" fmla="*/ 443306 h 599238"/>
                    <a:gd name="connsiteX76" fmla="*/ 356451 w 558129"/>
                    <a:gd name="connsiteY76" fmla="*/ 443667 h 599238"/>
                    <a:gd name="connsiteX77" fmla="*/ 384175 w 558129"/>
                    <a:gd name="connsiteY77" fmla="*/ 454470 h 599238"/>
                    <a:gd name="connsiteX78" fmla="*/ 451145 w 558129"/>
                    <a:gd name="connsiteY78" fmla="*/ 432863 h 599238"/>
                    <a:gd name="connsiteX79" fmla="*/ 495071 w 558129"/>
                    <a:gd name="connsiteY79" fmla="*/ 420259 h 599238"/>
                    <a:gd name="connsiteX80" fmla="*/ 521715 w 558129"/>
                    <a:gd name="connsiteY80" fmla="*/ 432143 h 599238"/>
                    <a:gd name="connsiteX81" fmla="*/ 528916 w 558129"/>
                    <a:gd name="connsiteY81" fmla="*/ 451949 h 599238"/>
                    <a:gd name="connsiteX82" fmla="*/ 547639 w 558129"/>
                    <a:gd name="connsiteY82" fmla="*/ 456271 h 599238"/>
                    <a:gd name="connsiteX83" fmla="*/ 558080 w 558129"/>
                    <a:gd name="connsiteY83" fmla="*/ 478238 h 599238"/>
                    <a:gd name="connsiteX84" fmla="*/ 537557 w 558129"/>
                    <a:gd name="connsiteY84" fmla="*/ 509208 h 599238"/>
                    <a:gd name="connsiteX85" fmla="*/ 260317 w 558129"/>
                    <a:gd name="connsiteY85" fmla="*/ 599238 h 599238"/>
                    <a:gd name="connsiteX86" fmla="*/ 106215 w 558129"/>
                    <a:gd name="connsiteY86" fmla="*/ 579071 h 599238"/>
                    <a:gd name="connsiteX87" fmla="*/ 90013 w 558129"/>
                    <a:gd name="connsiteY87" fmla="*/ 570429 h 599238"/>
                    <a:gd name="connsiteX88" fmla="*/ 72010 w 558129"/>
                    <a:gd name="connsiteY88" fmla="*/ 580152 h 599238"/>
                    <a:gd name="connsiteX89" fmla="*/ 21603 w 558129"/>
                    <a:gd name="connsiteY89" fmla="*/ 580152 h 599238"/>
                    <a:gd name="connsiteX90" fmla="*/ 0 w 558129"/>
                    <a:gd name="connsiteY90" fmla="*/ 558545 h 599238"/>
                    <a:gd name="connsiteX91" fmla="*/ 0 w 558129"/>
                    <a:gd name="connsiteY91" fmla="*/ 425300 h 599238"/>
                    <a:gd name="connsiteX92" fmla="*/ 21603 w 558129"/>
                    <a:gd name="connsiteY92" fmla="*/ 404053 h 599238"/>
                    <a:gd name="connsiteX93" fmla="*/ 72010 w 558129"/>
                    <a:gd name="connsiteY93" fmla="*/ 404053 h 599238"/>
                    <a:gd name="connsiteX94" fmla="*/ 90013 w 558129"/>
                    <a:gd name="connsiteY94" fmla="*/ 414137 h 599238"/>
                    <a:gd name="connsiteX95" fmla="*/ 118097 w 558129"/>
                    <a:gd name="connsiteY95" fmla="*/ 404053 h 599238"/>
                    <a:gd name="connsiteX96" fmla="*/ 252036 w 558129"/>
                    <a:gd name="connsiteY96" fmla="*/ 428181 h 599238"/>
                    <a:gd name="connsiteX97" fmla="*/ 297763 w 558129"/>
                    <a:gd name="connsiteY97" fmla="*/ 442226 h 599238"/>
                    <a:gd name="connsiteX98" fmla="*/ 329807 w 558129"/>
                    <a:gd name="connsiteY98" fmla="*/ 362640 h 599238"/>
                    <a:gd name="connsiteX99" fmla="*/ 270039 w 558129"/>
                    <a:gd name="connsiteY99" fmla="*/ 370922 h 599238"/>
                    <a:gd name="connsiteX100" fmla="*/ 261398 w 558129"/>
                    <a:gd name="connsiteY100" fmla="*/ 367681 h 599238"/>
                    <a:gd name="connsiteX101" fmla="*/ 260317 w 558129"/>
                    <a:gd name="connsiteY101" fmla="*/ 358678 h 599238"/>
                    <a:gd name="connsiteX102" fmla="*/ 296323 w 558129"/>
                    <a:gd name="connsiteY102" fmla="*/ 269009 h 599238"/>
                    <a:gd name="connsiteX103" fmla="*/ 286961 w 558129"/>
                    <a:gd name="connsiteY103" fmla="*/ 269009 h 599238"/>
                    <a:gd name="connsiteX104" fmla="*/ 222872 w 558129"/>
                    <a:gd name="connsiteY104" fmla="*/ 204908 h 599238"/>
                    <a:gd name="connsiteX105" fmla="*/ 222872 w 558129"/>
                    <a:gd name="connsiteY105" fmla="*/ 110917 h 599238"/>
                    <a:gd name="connsiteX106" fmla="*/ 213511 w 558129"/>
                    <a:gd name="connsiteY106" fmla="*/ 110917 h 599238"/>
                    <a:gd name="connsiteX107" fmla="*/ 204509 w 558129"/>
                    <a:gd name="connsiteY107" fmla="*/ 101914 h 599238"/>
                    <a:gd name="connsiteX108" fmla="*/ 213511 w 558129"/>
                    <a:gd name="connsiteY108" fmla="*/ 92911 h 599238"/>
                    <a:gd name="connsiteX109" fmla="*/ 231873 w 558129"/>
                    <a:gd name="connsiteY109" fmla="*/ 92911 h 599238"/>
                    <a:gd name="connsiteX110" fmla="*/ 255997 w 558129"/>
                    <a:gd name="connsiteY110" fmla="*/ 92911 h 599238"/>
                    <a:gd name="connsiteX111" fmla="*/ 255997 w 558129"/>
                    <a:gd name="connsiteY111" fmla="*/ 9003 h 599238"/>
                    <a:gd name="connsiteX112" fmla="*/ 264998 w 558129"/>
                    <a:gd name="connsiteY112" fmla="*/ 0 h 599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</a:cxnLst>
                  <a:rect l="l" t="t" r="r" b="b"/>
                  <a:pathLst>
                    <a:path w="558129" h="599238">
                      <a:moveTo>
                        <a:pt x="45498" y="523875"/>
                      </a:moveTo>
                      <a:cubicBezTo>
                        <a:pt x="50889" y="523875"/>
                        <a:pt x="55203" y="527829"/>
                        <a:pt x="55203" y="533220"/>
                      </a:cubicBezTo>
                      <a:cubicBezTo>
                        <a:pt x="55203" y="538252"/>
                        <a:pt x="50889" y="542566"/>
                        <a:pt x="45498" y="542566"/>
                      </a:cubicBezTo>
                      <a:cubicBezTo>
                        <a:pt x="40466" y="542566"/>
                        <a:pt x="36512" y="538252"/>
                        <a:pt x="36512" y="533220"/>
                      </a:cubicBezTo>
                      <a:cubicBezTo>
                        <a:pt x="36512" y="527829"/>
                        <a:pt x="40466" y="523875"/>
                        <a:pt x="45498" y="523875"/>
                      </a:cubicBezTo>
                      <a:close/>
                      <a:moveTo>
                        <a:pt x="495071" y="438625"/>
                      </a:moveTo>
                      <a:cubicBezTo>
                        <a:pt x="486430" y="438625"/>
                        <a:pt x="473828" y="443667"/>
                        <a:pt x="457626" y="449789"/>
                      </a:cubicBezTo>
                      <a:cubicBezTo>
                        <a:pt x="440703" y="456271"/>
                        <a:pt x="420180" y="464193"/>
                        <a:pt x="394257" y="470675"/>
                      </a:cubicBezTo>
                      <a:cubicBezTo>
                        <a:pt x="396057" y="476437"/>
                        <a:pt x="396777" y="483280"/>
                        <a:pt x="396057" y="490842"/>
                      </a:cubicBezTo>
                      <a:cubicBezTo>
                        <a:pt x="396057" y="493003"/>
                        <a:pt x="395337" y="495164"/>
                        <a:pt x="394977" y="497684"/>
                      </a:cubicBezTo>
                      <a:cubicBezTo>
                        <a:pt x="438903" y="486881"/>
                        <a:pt x="470588" y="473556"/>
                        <a:pt x="492911" y="464193"/>
                      </a:cubicBezTo>
                      <a:cubicBezTo>
                        <a:pt x="499392" y="461312"/>
                        <a:pt x="505513" y="458792"/>
                        <a:pt x="510913" y="456991"/>
                      </a:cubicBezTo>
                      <a:cubicBezTo>
                        <a:pt x="511273" y="451589"/>
                        <a:pt x="509833" y="446908"/>
                        <a:pt x="507313" y="443667"/>
                      </a:cubicBezTo>
                      <a:cubicBezTo>
                        <a:pt x="504432" y="440065"/>
                        <a:pt x="500472" y="438625"/>
                        <a:pt x="495071" y="438625"/>
                      </a:cubicBezTo>
                      <a:close/>
                      <a:moveTo>
                        <a:pt x="117017" y="422059"/>
                      </a:moveTo>
                      <a:cubicBezTo>
                        <a:pt x="110896" y="422059"/>
                        <a:pt x="105135" y="424220"/>
                        <a:pt x="100815" y="428542"/>
                      </a:cubicBezTo>
                      <a:cubicBezTo>
                        <a:pt x="96134" y="432863"/>
                        <a:pt x="93614" y="438985"/>
                        <a:pt x="93614" y="445467"/>
                      </a:cubicBezTo>
                      <a:lnTo>
                        <a:pt x="93253" y="538738"/>
                      </a:lnTo>
                      <a:cubicBezTo>
                        <a:pt x="93253" y="549182"/>
                        <a:pt x="100455" y="558545"/>
                        <a:pt x="110536" y="561426"/>
                      </a:cubicBezTo>
                      <a:cubicBezTo>
                        <a:pt x="185067" y="581232"/>
                        <a:pt x="374454" y="614003"/>
                        <a:pt x="526756" y="494443"/>
                      </a:cubicBezTo>
                      <a:cubicBezTo>
                        <a:pt x="531436" y="491202"/>
                        <a:pt x="539717" y="483280"/>
                        <a:pt x="540077" y="477158"/>
                      </a:cubicBezTo>
                      <a:cubicBezTo>
                        <a:pt x="540077" y="476077"/>
                        <a:pt x="540438" y="473556"/>
                        <a:pt x="536117" y="469955"/>
                      </a:cubicBezTo>
                      <a:cubicBezTo>
                        <a:pt x="532876" y="467074"/>
                        <a:pt x="515954" y="474277"/>
                        <a:pt x="499752" y="481119"/>
                      </a:cubicBezTo>
                      <a:cubicBezTo>
                        <a:pt x="472028" y="492643"/>
                        <a:pt x="430262" y="510289"/>
                        <a:pt x="368333" y="522172"/>
                      </a:cubicBezTo>
                      <a:cubicBezTo>
                        <a:pt x="354651" y="527214"/>
                        <a:pt x="335568" y="529735"/>
                        <a:pt x="311445" y="529735"/>
                      </a:cubicBezTo>
                      <a:cubicBezTo>
                        <a:pt x="289842" y="529735"/>
                        <a:pt x="264278" y="527574"/>
                        <a:pt x="235114" y="523613"/>
                      </a:cubicBezTo>
                      <a:cubicBezTo>
                        <a:pt x="230073" y="523253"/>
                        <a:pt x="226473" y="518571"/>
                        <a:pt x="227193" y="513530"/>
                      </a:cubicBezTo>
                      <a:cubicBezTo>
                        <a:pt x="227913" y="508848"/>
                        <a:pt x="232593" y="505247"/>
                        <a:pt x="237274" y="505607"/>
                      </a:cubicBezTo>
                      <a:cubicBezTo>
                        <a:pt x="312525" y="516050"/>
                        <a:pt x="346730" y="511009"/>
                        <a:pt x="362572" y="504887"/>
                      </a:cubicBezTo>
                      <a:lnTo>
                        <a:pt x="362932" y="504887"/>
                      </a:lnTo>
                      <a:cubicBezTo>
                        <a:pt x="377334" y="499125"/>
                        <a:pt x="378054" y="491922"/>
                        <a:pt x="378054" y="489402"/>
                      </a:cubicBezTo>
                      <a:cubicBezTo>
                        <a:pt x="378774" y="479678"/>
                        <a:pt x="376614" y="472476"/>
                        <a:pt x="372653" y="467794"/>
                      </a:cubicBezTo>
                      <a:cubicBezTo>
                        <a:pt x="366173" y="461672"/>
                        <a:pt x="357171" y="462033"/>
                        <a:pt x="356811" y="462033"/>
                      </a:cubicBezTo>
                      <a:cubicBezTo>
                        <a:pt x="274719" y="463113"/>
                        <a:pt x="259957" y="454110"/>
                        <a:pt x="242675" y="443667"/>
                      </a:cubicBezTo>
                      <a:cubicBezTo>
                        <a:pt x="227553" y="434664"/>
                        <a:pt x="209910" y="424580"/>
                        <a:pt x="117377" y="422059"/>
                      </a:cubicBezTo>
                      <a:close/>
                      <a:moveTo>
                        <a:pt x="21603" y="422059"/>
                      </a:moveTo>
                      <a:cubicBezTo>
                        <a:pt x="19803" y="422059"/>
                        <a:pt x="18363" y="423860"/>
                        <a:pt x="18363" y="425300"/>
                      </a:cubicBezTo>
                      <a:lnTo>
                        <a:pt x="18363" y="558545"/>
                      </a:lnTo>
                      <a:cubicBezTo>
                        <a:pt x="18363" y="560345"/>
                        <a:pt x="19803" y="562146"/>
                        <a:pt x="21603" y="562146"/>
                      </a:cubicBezTo>
                      <a:lnTo>
                        <a:pt x="72010" y="562146"/>
                      </a:lnTo>
                      <a:cubicBezTo>
                        <a:pt x="73811" y="562146"/>
                        <a:pt x="75251" y="560345"/>
                        <a:pt x="75251" y="558545"/>
                      </a:cubicBezTo>
                      <a:lnTo>
                        <a:pt x="75251" y="425300"/>
                      </a:lnTo>
                      <a:cubicBezTo>
                        <a:pt x="75251" y="423860"/>
                        <a:pt x="73811" y="422059"/>
                        <a:pt x="72010" y="422059"/>
                      </a:cubicBezTo>
                      <a:close/>
                      <a:moveTo>
                        <a:pt x="241235" y="168536"/>
                      </a:moveTo>
                      <a:lnTo>
                        <a:pt x="241235" y="204908"/>
                      </a:lnTo>
                      <a:cubicBezTo>
                        <a:pt x="241235" y="230116"/>
                        <a:pt x="261758" y="251003"/>
                        <a:pt x="286961" y="251003"/>
                      </a:cubicBezTo>
                      <a:lnTo>
                        <a:pt x="334848" y="251003"/>
                      </a:lnTo>
                      <a:cubicBezTo>
                        <a:pt x="360412" y="251003"/>
                        <a:pt x="380575" y="230116"/>
                        <a:pt x="380575" y="204908"/>
                      </a:cubicBezTo>
                      <a:lnTo>
                        <a:pt x="380575" y="168536"/>
                      </a:lnTo>
                      <a:close/>
                      <a:moveTo>
                        <a:pt x="241235" y="110917"/>
                      </a:moveTo>
                      <a:lnTo>
                        <a:pt x="241235" y="150530"/>
                      </a:lnTo>
                      <a:lnTo>
                        <a:pt x="380575" y="150530"/>
                      </a:lnTo>
                      <a:lnTo>
                        <a:pt x="380575" y="110917"/>
                      </a:lnTo>
                      <a:lnTo>
                        <a:pt x="356811" y="110917"/>
                      </a:lnTo>
                      <a:lnTo>
                        <a:pt x="264998" y="110917"/>
                      </a:lnTo>
                      <a:close/>
                      <a:moveTo>
                        <a:pt x="264998" y="0"/>
                      </a:moveTo>
                      <a:cubicBezTo>
                        <a:pt x="270039" y="0"/>
                        <a:pt x="273999" y="3961"/>
                        <a:pt x="273999" y="9003"/>
                      </a:cubicBezTo>
                      <a:lnTo>
                        <a:pt x="273999" y="92911"/>
                      </a:lnTo>
                      <a:lnTo>
                        <a:pt x="347810" y="92911"/>
                      </a:lnTo>
                      <a:lnTo>
                        <a:pt x="347810" y="9003"/>
                      </a:lnTo>
                      <a:cubicBezTo>
                        <a:pt x="347810" y="3961"/>
                        <a:pt x="351771" y="0"/>
                        <a:pt x="356811" y="0"/>
                      </a:cubicBezTo>
                      <a:cubicBezTo>
                        <a:pt x="361852" y="0"/>
                        <a:pt x="365813" y="3961"/>
                        <a:pt x="365813" y="9003"/>
                      </a:cubicBezTo>
                      <a:lnTo>
                        <a:pt x="365813" y="92911"/>
                      </a:lnTo>
                      <a:lnTo>
                        <a:pt x="389936" y="92911"/>
                      </a:lnTo>
                      <a:lnTo>
                        <a:pt x="408299" y="92911"/>
                      </a:lnTo>
                      <a:cubicBezTo>
                        <a:pt x="413339" y="92911"/>
                        <a:pt x="417300" y="97232"/>
                        <a:pt x="417300" y="101914"/>
                      </a:cubicBezTo>
                      <a:cubicBezTo>
                        <a:pt x="417300" y="106955"/>
                        <a:pt x="413339" y="110917"/>
                        <a:pt x="408299" y="110917"/>
                      </a:cubicBezTo>
                      <a:lnTo>
                        <a:pt x="398937" y="110917"/>
                      </a:lnTo>
                      <a:lnTo>
                        <a:pt x="398937" y="204908"/>
                      </a:lnTo>
                      <a:cubicBezTo>
                        <a:pt x="398937" y="240199"/>
                        <a:pt x="370133" y="269009"/>
                        <a:pt x="334848" y="269009"/>
                      </a:cubicBezTo>
                      <a:lnTo>
                        <a:pt x="315765" y="269009"/>
                      </a:lnTo>
                      <a:lnTo>
                        <a:pt x="282641" y="351116"/>
                      </a:lnTo>
                      <a:lnTo>
                        <a:pt x="343129" y="342473"/>
                      </a:lnTo>
                      <a:cubicBezTo>
                        <a:pt x="346370" y="342113"/>
                        <a:pt x="349610" y="343193"/>
                        <a:pt x="351410" y="345714"/>
                      </a:cubicBezTo>
                      <a:cubicBezTo>
                        <a:pt x="353571" y="348235"/>
                        <a:pt x="353931" y="351836"/>
                        <a:pt x="352851" y="355077"/>
                      </a:cubicBezTo>
                      <a:lnTo>
                        <a:pt x="316846" y="443306"/>
                      </a:lnTo>
                      <a:cubicBezTo>
                        <a:pt x="327647" y="443667"/>
                        <a:pt x="340609" y="444027"/>
                        <a:pt x="356451" y="443667"/>
                      </a:cubicBezTo>
                      <a:cubicBezTo>
                        <a:pt x="357531" y="443667"/>
                        <a:pt x="373014" y="443306"/>
                        <a:pt x="384175" y="454470"/>
                      </a:cubicBezTo>
                      <a:cubicBezTo>
                        <a:pt x="411539" y="447988"/>
                        <a:pt x="433502" y="439705"/>
                        <a:pt x="451145" y="432863"/>
                      </a:cubicBezTo>
                      <a:cubicBezTo>
                        <a:pt x="468787" y="425661"/>
                        <a:pt x="483189" y="420619"/>
                        <a:pt x="495071" y="420259"/>
                      </a:cubicBezTo>
                      <a:cubicBezTo>
                        <a:pt x="506233" y="420259"/>
                        <a:pt x="515234" y="424220"/>
                        <a:pt x="521715" y="432143"/>
                      </a:cubicBezTo>
                      <a:cubicBezTo>
                        <a:pt x="525675" y="437544"/>
                        <a:pt x="528196" y="444387"/>
                        <a:pt x="528916" y="451949"/>
                      </a:cubicBezTo>
                      <a:cubicBezTo>
                        <a:pt x="536477" y="450869"/>
                        <a:pt x="542598" y="451589"/>
                        <a:pt x="547639" y="456271"/>
                      </a:cubicBezTo>
                      <a:cubicBezTo>
                        <a:pt x="557000" y="463833"/>
                        <a:pt x="558440" y="472476"/>
                        <a:pt x="558080" y="478238"/>
                      </a:cubicBezTo>
                      <a:cubicBezTo>
                        <a:pt x="557360" y="494803"/>
                        <a:pt x="539717" y="507768"/>
                        <a:pt x="537557" y="509208"/>
                      </a:cubicBezTo>
                      <a:cubicBezTo>
                        <a:pt x="447904" y="579792"/>
                        <a:pt x="346010" y="599238"/>
                        <a:pt x="260317" y="599238"/>
                      </a:cubicBezTo>
                      <a:cubicBezTo>
                        <a:pt x="195148" y="599238"/>
                        <a:pt x="139340" y="587714"/>
                        <a:pt x="106215" y="579071"/>
                      </a:cubicBezTo>
                      <a:cubicBezTo>
                        <a:pt x="99734" y="577271"/>
                        <a:pt x="94334" y="574390"/>
                        <a:pt x="90013" y="570429"/>
                      </a:cubicBezTo>
                      <a:cubicBezTo>
                        <a:pt x="86052" y="576190"/>
                        <a:pt x="79572" y="580152"/>
                        <a:pt x="72010" y="580152"/>
                      </a:cubicBezTo>
                      <a:lnTo>
                        <a:pt x="21603" y="580152"/>
                      </a:lnTo>
                      <a:cubicBezTo>
                        <a:pt x="9721" y="580152"/>
                        <a:pt x="0" y="570429"/>
                        <a:pt x="0" y="558545"/>
                      </a:cubicBezTo>
                      <a:lnTo>
                        <a:pt x="0" y="425300"/>
                      </a:lnTo>
                      <a:cubicBezTo>
                        <a:pt x="0" y="413417"/>
                        <a:pt x="9721" y="404053"/>
                        <a:pt x="21603" y="404053"/>
                      </a:cubicBezTo>
                      <a:lnTo>
                        <a:pt x="72010" y="404053"/>
                      </a:lnTo>
                      <a:cubicBezTo>
                        <a:pt x="79572" y="404053"/>
                        <a:pt x="86413" y="408015"/>
                        <a:pt x="90013" y="414137"/>
                      </a:cubicBezTo>
                      <a:cubicBezTo>
                        <a:pt x="97934" y="407295"/>
                        <a:pt x="107656" y="403693"/>
                        <a:pt x="118097" y="404053"/>
                      </a:cubicBezTo>
                      <a:cubicBezTo>
                        <a:pt x="215311" y="406574"/>
                        <a:pt x="234754" y="418098"/>
                        <a:pt x="252036" y="428181"/>
                      </a:cubicBezTo>
                      <a:cubicBezTo>
                        <a:pt x="261758" y="433943"/>
                        <a:pt x="270759" y="439345"/>
                        <a:pt x="297763" y="442226"/>
                      </a:cubicBezTo>
                      <a:lnTo>
                        <a:pt x="329807" y="362640"/>
                      </a:lnTo>
                      <a:lnTo>
                        <a:pt x="270039" y="370922"/>
                      </a:lnTo>
                      <a:cubicBezTo>
                        <a:pt x="266438" y="371643"/>
                        <a:pt x="263198" y="370202"/>
                        <a:pt x="261398" y="367681"/>
                      </a:cubicBezTo>
                      <a:cubicBezTo>
                        <a:pt x="259237" y="365161"/>
                        <a:pt x="258877" y="361920"/>
                        <a:pt x="260317" y="358678"/>
                      </a:cubicBezTo>
                      <a:lnTo>
                        <a:pt x="296323" y="269009"/>
                      </a:lnTo>
                      <a:lnTo>
                        <a:pt x="286961" y="269009"/>
                      </a:lnTo>
                      <a:cubicBezTo>
                        <a:pt x="251676" y="269009"/>
                        <a:pt x="222872" y="240199"/>
                        <a:pt x="222872" y="204908"/>
                      </a:cubicBezTo>
                      <a:lnTo>
                        <a:pt x="222872" y="110917"/>
                      </a:lnTo>
                      <a:lnTo>
                        <a:pt x="213511" y="110917"/>
                      </a:lnTo>
                      <a:cubicBezTo>
                        <a:pt x="208470" y="110917"/>
                        <a:pt x="204509" y="106955"/>
                        <a:pt x="204509" y="101914"/>
                      </a:cubicBezTo>
                      <a:cubicBezTo>
                        <a:pt x="204509" y="97232"/>
                        <a:pt x="208470" y="92911"/>
                        <a:pt x="213511" y="92911"/>
                      </a:cubicBezTo>
                      <a:lnTo>
                        <a:pt x="231873" y="92911"/>
                      </a:lnTo>
                      <a:lnTo>
                        <a:pt x="255997" y="92911"/>
                      </a:lnTo>
                      <a:lnTo>
                        <a:pt x="255997" y="9003"/>
                      </a:lnTo>
                      <a:cubicBezTo>
                        <a:pt x="255997" y="3961"/>
                        <a:pt x="259957" y="0"/>
                        <a:pt x="264998" y="0"/>
                      </a:cubicBezTo>
                      <a:close/>
                    </a:path>
                  </a:pathLst>
                </a:custGeom>
                <a:solidFill>
                  <a:srgbClr val="689C41"/>
                </a:solidFill>
                <a:ln>
                  <a:noFill/>
                </a:ln>
                <a:effectLst/>
              </p:spPr>
              <p:txBody>
                <a:bodyPr wrap="square" anchor="ctr">
                  <a:noAutofit/>
                </a:bodyPr>
                <a:lstStyle>
                  <a:defPPr>
                    <a:defRPr lang="en-US"/>
                  </a:defPPr>
                  <a:lvl1pPr marL="0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09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17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326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434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543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652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760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6869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900" dirty="0">
                    <a:latin typeface="Lato Light" panose="020F0502020204030203" pitchFamily="34" charset="0"/>
                  </a:endParaRPr>
                </a:p>
              </p:txBody>
            </p:sp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1F749BA-006B-C1A8-21ED-022ACD19E78E}"/>
                </a:ext>
              </a:extLst>
            </p:cNvPr>
            <p:cNvGrpSpPr/>
            <p:nvPr/>
          </p:nvGrpSpPr>
          <p:grpSpPr>
            <a:xfrm>
              <a:off x="8361358" y="2286323"/>
              <a:ext cx="719813" cy="719813"/>
              <a:chOff x="8361358" y="2286323"/>
              <a:chExt cx="1439625" cy="1439625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D1AE8EF4-D368-4EE0-9029-09BEEB3A1E05}"/>
                  </a:ext>
                </a:extLst>
              </p:cNvPr>
              <p:cNvSpPr/>
              <p:nvPr/>
            </p:nvSpPr>
            <p:spPr>
              <a:xfrm>
                <a:off x="8361358" y="2286323"/>
                <a:ext cx="1439625" cy="1439625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rgbClr val="689C4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0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17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326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434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543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652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76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686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400" dirty="0"/>
              </a:p>
            </p:txBody>
          </p: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651257FB-5341-B7C8-791E-501A9BDEA698}"/>
                  </a:ext>
                </a:extLst>
              </p:cNvPr>
              <p:cNvGrpSpPr/>
              <p:nvPr/>
            </p:nvGrpSpPr>
            <p:grpSpPr>
              <a:xfrm>
                <a:off x="8508173" y="2700841"/>
                <a:ext cx="1145980" cy="610591"/>
                <a:chOff x="8508173" y="2700841"/>
                <a:chExt cx="1145980" cy="610591"/>
              </a:xfrm>
            </p:grpSpPr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AD1BBE66-A528-4A60-A3A9-A694D84750BF}"/>
                    </a:ext>
                  </a:extLst>
                </p:cNvPr>
                <p:cNvGrpSpPr/>
                <p:nvPr/>
              </p:nvGrpSpPr>
              <p:grpSpPr>
                <a:xfrm>
                  <a:off x="8508173" y="2700841"/>
                  <a:ext cx="1145980" cy="610591"/>
                  <a:chOff x="8508180" y="2700841"/>
                  <a:chExt cx="1442761" cy="768723"/>
                </a:xfrm>
              </p:grpSpPr>
              <p:grpSp>
                <p:nvGrpSpPr>
                  <p:cNvPr id="36" name="Group 35">
                    <a:extLst>
                      <a:ext uri="{FF2B5EF4-FFF2-40B4-BE49-F238E27FC236}">
                        <a16:creationId xmlns:a16="http://schemas.microsoft.com/office/drawing/2014/main" id="{31BD892B-A105-45D8-8B97-9D588CA7685F}"/>
                      </a:ext>
                    </a:extLst>
                  </p:cNvPr>
                  <p:cNvGrpSpPr/>
                  <p:nvPr/>
                </p:nvGrpSpPr>
                <p:grpSpPr>
                  <a:xfrm>
                    <a:off x="8622330" y="2700841"/>
                    <a:ext cx="1080260" cy="677642"/>
                    <a:chOff x="8622330" y="2700841"/>
                    <a:chExt cx="1080260" cy="677642"/>
                  </a:xfrm>
                </p:grpSpPr>
                <p:sp>
                  <p:nvSpPr>
                    <p:cNvPr id="43" name="Rounded Rectangle 4">
                      <a:extLst>
                        <a:ext uri="{FF2B5EF4-FFF2-40B4-BE49-F238E27FC236}">
                          <a16:creationId xmlns:a16="http://schemas.microsoft.com/office/drawing/2014/main" id="{84F266CB-3435-4EC8-98E6-A085F24FC4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622330" y="2725790"/>
                      <a:ext cx="1080260" cy="554201"/>
                    </a:xfrm>
                    <a:prstGeom prst="roundRect">
                      <a:avLst/>
                    </a:prstGeom>
                    <a:solidFill>
                      <a:schemeClr val="bg1"/>
                    </a:solidFill>
                    <a:ln>
                      <a:solidFill>
                        <a:srgbClr val="689C4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109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217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326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434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543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652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760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869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sv-SE" sz="3599"/>
                    </a:p>
                  </p:txBody>
                </p:sp>
                <p:sp>
                  <p:nvSpPr>
                    <p:cNvPr id="44" name="Freeform 422">
                      <a:extLst>
                        <a:ext uri="{FF2B5EF4-FFF2-40B4-BE49-F238E27FC236}">
                          <a16:creationId xmlns:a16="http://schemas.microsoft.com/office/drawing/2014/main" id="{4FBE5BFC-516C-43C4-B5D2-D4EED0B703CB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8622330" y="2700841"/>
                      <a:ext cx="1080260" cy="677642"/>
                    </a:xfrm>
                    <a:custGeom>
                      <a:avLst/>
                      <a:gdLst>
                        <a:gd name="T0" fmla="*/ 246 w 263"/>
                        <a:gd name="T1" fmla="*/ 0 h 166"/>
                        <a:gd name="T2" fmla="*/ 18 w 263"/>
                        <a:gd name="T3" fmla="*/ 0 h 166"/>
                        <a:gd name="T4" fmla="*/ 0 w 263"/>
                        <a:gd name="T5" fmla="*/ 17 h 166"/>
                        <a:gd name="T6" fmla="*/ 0 w 263"/>
                        <a:gd name="T7" fmla="*/ 131 h 166"/>
                        <a:gd name="T8" fmla="*/ 18 w 263"/>
                        <a:gd name="T9" fmla="*/ 149 h 166"/>
                        <a:gd name="T10" fmla="*/ 114 w 263"/>
                        <a:gd name="T11" fmla="*/ 149 h 166"/>
                        <a:gd name="T12" fmla="*/ 114 w 263"/>
                        <a:gd name="T13" fmla="*/ 157 h 166"/>
                        <a:gd name="T14" fmla="*/ 97 w 263"/>
                        <a:gd name="T15" fmla="*/ 157 h 166"/>
                        <a:gd name="T16" fmla="*/ 88 w 263"/>
                        <a:gd name="T17" fmla="*/ 166 h 166"/>
                        <a:gd name="T18" fmla="*/ 176 w 263"/>
                        <a:gd name="T19" fmla="*/ 166 h 166"/>
                        <a:gd name="T20" fmla="*/ 167 w 263"/>
                        <a:gd name="T21" fmla="*/ 157 h 166"/>
                        <a:gd name="T22" fmla="*/ 149 w 263"/>
                        <a:gd name="T23" fmla="*/ 157 h 166"/>
                        <a:gd name="T24" fmla="*/ 149 w 263"/>
                        <a:gd name="T25" fmla="*/ 149 h 166"/>
                        <a:gd name="T26" fmla="*/ 246 w 263"/>
                        <a:gd name="T27" fmla="*/ 149 h 166"/>
                        <a:gd name="T28" fmla="*/ 263 w 263"/>
                        <a:gd name="T29" fmla="*/ 131 h 166"/>
                        <a:gd name="T30" fmla="*/ 263 w 263"/>
                        <a:gd name="T31" fmla="*/ 17 h 166"/>
                        <a:gd name="T32" fmla="*/ 246 w 263"/>
                        <a:gd name="T33" fmla="*/ 0 h 166"/>
                        <a:gd name="T34" fmla="*/ 255 w 263"/>
                        <a:gd name="T35" fmla="*/ 131 h 166"/>
                        <a:gd name="T36" fmla="*/ 246 w 263"/>
                        <a:gd name="T37" fmla="*/ 140 h 166"/>
                        <a:gd name="T38" fmla="*/ 18 w 263"/>
                        <a:gd name="T39" fmla="*/ 140 h 166"/>
                        <a:gd name="T40" fmla="*/ 9 w 263"/>
                        <a:gd name="T41" fmla="*/ 131 h 166"/>
                        <a:gd name="T42" fmla="*/ 9 w 263"/>
                        <a:gd name="T43" fmla="*/ 17 h 166"/>
                        <a:gd name="T44" fmla="*/ 18 w 263"/>
                        <a:gd name="T45" fmla="*/ 8 h 166"/>
                        <a:gd name="T46" fmla="*/ 246 w 263"/>
                        <a:gd name="T47" fmla="*/ 8 h 166"/>
                        <a:gd name="T48" fmla="*/ 255 w 263"/>
                        <a:gd name="T49" fmla="*/ 17 h 166"/>
                        <a:gd name="T50" fmla="*/ 255 w 263"/>
                        <a:gd name="T51" fmla="*/ 131 h 1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</a:cxnLst>
                      <a:rect l="0" t="0" r="r" b="b"/>
                      <a:pathLst>
                        <a:path w="263" h="166">
                          <a:moveTo>
                            <a:pt x="246" y="0"/>
                          </a:moveTo>
                          <a:cubicBezTo>
                            <a:pt x="18" y="0"/>
                            <a:pt x="18" y="0"/>
                            <a:pt x="18" y="0"/>
                          </a:cubicBezTo>
                          <a:cubicBezTo>
                            <a:pt x="8" y="0"/>
                            <a:pt x="0" y="8"/>
                            <a:pt x="0" y="17"/>
                          </a:cubicBezTo>
                          <a:cubicBezTo>
                            <a:pt x="0" y="131"/>
                            <a:pt x="0" y="131"/>
                            <a:pt x="0" y="131"/>
                          </a:cubicBezTo>
                          <a:cubicBezTo>
                            <a:pt x="0" y="141"/>
                            <a:pt x="8" y="149"/>
                            <a:pt x="18" y="149"/>
                          </a:cubicBezTo>
                          <a:cubicBezTo>
                            <a:pt x="114" y="149"/>
                            <a:pt x="114" y="149"/>
                            <a:pt x="114" y="149"/>
                          </a:cubicBezTo>
                          <a:cubicBezTo>
                            <a:pt x="114" y="157"/>
                            <a:pt x="114" y="157"/>
                            <a:pt x="114" y="157"/>
                          </a:cubicBezTo>
                          <a:cubicBezTo>
                            <a:pt x="110" y="157"/>
                            <a:pt x="99" y="157"/>
                            <a:pt x="97" y="157"/>
                          </a:cubicBezTo>
                          <a:cubicBezTo>
                            <a:pt x="88" y="157"/>
                            <a:pt x="88" y="166"/>
                            <a:pt x="88" y="166"/>
                          </a:cubicBezTo>
                          <a:cubicBezTo>
                            <a:pt x="176" y="166"/>
                            <a:pt x="176" y="166"/>
                            <a:pt x="176" y="166"/>
                          </a:cubicBezTo>
                          <a:cubicBezTo>
                            <a:pt x="176" y="157"/>
                            <a:pt x="167" y="157"/>
                            <a:pt x="167" y="157"/>
                          </a:cubicBezTo>
                          <a:cubicBezTo>
                            <a:pt x="167" y="157"/>
                            <a:pt x="155" y="157"/>
                            <a:pt x="149" y="157"/>
                          </a:cubicBezTo>
                          <a:cubicBezTo>
                            <a:pt x="149" y="149"/>
                            <a:pt x="149" y="149"/>
                            <a:pt x="149" y="149"/>
                          </a:cubicBezTo>
                          <a:cubicBezTo>
                            <a:pt x="246" y="149"/>
                            <a:pt x="246" y="149"/>
                            <a:pt x="246" y="149"/>
                          </a:cubicBezTo>
                          <a:cubicBezTo>
                            <a:pt x="256" y="149"/>
                            <a:pt x="263" y="141"/>
                            <a:pt x="263" y="131"/>
                          </a:cubicBezTo>
                          <a:cubicBezTo>
                            <a:pt x="263" y="17"/>
                            <a:pt x="263" y="17"/>
                            <a:pt x="263" y="17"/>
                          </a:cubicBezTo>
                          <a:cubicBezTo>
                            <a:pt x="263" y="8"/>
                            <a:pt x="256" y="0"/>
                            <a:pt x="246" y="0"/>
                          </a:cubicBezTo>
                          <a:close/>
                          <a:moveTo>
                            <a:pt x="255" y="131"/>
                          </a:moveTo>
                          <a:cubicBezTo>
                            <a:pt x="255" y="136"/>
                            <a:pt x="251" y="140"/>
                            <a:pt x="246" y="140"/>
                          </a:cubicBezTo>
                          <a:cubicBezTo>
                            <a:pt x="18" y="140"/>
                            <a:pt x="18" y="140"/>
                            <a:pt x="18" y="140"/>
                          </a:cubicBezTo>
                          <a:cubicBezTo>
                            <a:pt x="13" y="140"/>
                            <a:pt x="9" y="136"/>
                            <a:pt x="9" y="131"/>
                          </a:cubicBezTo>
                          <a:cubicBezTo>
                            <a:pt x="9" y="17"/>
                            <a:pt x="9" y="17"/>
                            <a:pt x="9" y="17"/>
                          </a:cubicBezTo>
                          <a:cubicBezTo>
                            <a:pt x="9" y="12"/>
                            <a:pt x="13" y="8"/>
                            <a:pt x="18" y="8"/>
                          </a:cubicBezTo>
                          <a:cubicBezTo>
                            <a:pt x="246" y="8"/>
                            <a:pt x="246" y="8"/>
                            <a:pt x="246" y="8"/>
                          </a:cubicBezTo>
                          <a:cubicBezTo>
                            <a:pt x="251" y="8"/>
                            <a:pt x="255" y="12"/>
                            <a:pt x="255" y="17"/>
                          </a:cubicBezTo>
                          <a:lnTo>
                            <a:pt x="255" y="131"/>
                          </a:lnTo>
                          <a:close/>
                        </a:path>
                      </a:pathLst>
                    </a:custGeom>
                    <a:solidFill>
                      <a:srgbClr val="689C41"/>
                    </a:solidFill>
                    <a:ln>
                      <a:solidFill>
                        <a:srgbClr val="689C41"/>
                      </a:solidFill>
                    </a:ln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109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217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326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434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543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652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760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869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31250"/>
                        </a:spcBef>
                        <a:spcAft>
                          <a:spcPct val="0"/>
                        </a:spcAft>
                        <a:buClr>
                          <a:srgbClr val="00529B"/>
                        </a:buClr>
                        <a:buSzPct val="100000"/>
                      </a:pPr>
                      <a:endParaRPr lang="en-US" sz="1600" kern="0" dirty="0">
                        <a:solidFill>
                          <a:srgbClr val="000000"/>
                        </a:solidFill>
                        <a:latin typeface="Arial"/>
                        <a:ea typeface="Arial Unicode MS"/>
                        <a:cs typeface="Arial Unicode MS"/>
                      </a:endParaRPr>
                    </a:p>
                  </p:txBody>
                </p:sp>
              </p:grpSp>
              <p:grpSp>
                <p:nvGrpSpPr>
                  <p:cNvPr id="37" name="Group 36">
                    <a:extLst>
                      <a:ext uri="{FF2B5EF4-FFF2-40B4-BE49-F238E27FC236}">
                        <a16:creationId xmlns:a16="http://schemas.microsoft.com/office/drawing/2014/main" id="{27631B62-C6F9-4474-91DD-E7DBE8EA9637}"/>
                      </a:ext>
                    </a:extLst>
                  </p:cNvPr>
                  <p:cNvGrpSpPr/>
                  <p:nvPr/>
                </p:nvGrpSpPr>
                <p:grpSpPr>
                  <a:xfrm>
                    <a:off x="9553560" y="2940566"/>
                    <a:ext cx="397381" cy="528998"/>
                    <a:chOff x="9553560" y="2940566"/>
                    <a:chExt cx="480237" cy="639295"/>
                  </a:xfrm>
                </p:grpSpPr>
                <p:sp>
                  <p:nvSpPr>
                    <p:cNvPr id="41" name="Rectangle 40">
                      <a:extLst>
                        <a:ext uri="{FF2B5EF4-FFF2-40B4-BE49-F238E27FC236}">
                          <a16:creationId xmlns:a16="http://schemas.microsoft.com/office/drawing/2014/main" id="{350D0DB4-CB87-4DD7-B8E3-EF0F6B6810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575463" y="3028764"/>
                      <a:ext cx="436582" cy="450115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solidFill>
                        <a:srgbClr val="689C4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109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217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326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434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543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652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760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869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sv-SE" sz="3599"/>
                    </a:p>
                  </p:txBody>
                </p:sp>
                <p:sp>
                  <p:nvSpPr>
                    <p:cNvPr id="42" name="Freeform 78">
                      <a:extLst>
                        <a:ext uri="{FF2B5EF4-FFF2-40B4-BE49-F238E27FC236}">
                          <a16:creationId xmlns:a16="http://schemas.microsoft.com/office/drawing/2014/main" id="{5C056683-3D6D-430F-BE8C-332B75A8E17A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9553560" y="2940566"/>
                      <a:ext cx="480237" cy="639295"/>
                    </a:xfrm>
                    <a:custGeom>
                      <a:avLst/>
                      <a:gdLst>
                        <a:gd name="T0" fmla="*/ 118 w 140"/>
                        <a:gd name="T1" fmla="*/ 0 h 263"/>
                        <a:gd name="T2" fmla="*/ 21 w 140"/>
                        <a:gd name="T3" fmla="*/ 0 h 263"/>
                        <a:gd name="T4" fmla="*/ 0 w 140"/>
                        <a:gd name="T5" fmla="*/ 22 h 263"/>
                        <a:gd name="T6" fmla="*/ 0 w 140"/>
                        <a:gd name="T7" fmla="*/ 241 h 263"/>
                        <a:gd name="T8" fmla="*/ 21 w 140"/>
                        <a:gd name="T9" fmla="*/ 263 h 263"/>
                        <a:gd name="T10" fmla="*/ 118 w 140"/>
                        <a:gd name="T11" fmla="*/ 263 h 263"/>
                        <a:gd name="T12" fmla="*/ 140 w 140"/>
                        <a:gd name="T13" fmla="*/ 241 h 263"/>
                        <a:gd name="T14" fmla="*/ 140 w 140"/>
                        <a:gd name="T15" fmla="*/ 22 h 263"/>
                        <a:gd name="T16" fmla="*/ 118 w 140"/>
                        <a:gd name="T17" fmla="*/ 0 h 263"/>
                        <a:gd name="T18" fmla="*/ 57 w 140"/>
                        <a:gd name="T19" fmla="*/ 18 h 263"/>
                        <a:gd name="T20" fmla="*/ 83 w 140"/>
                        <a:gd name="T21" fmla="*/ 18 h 263"/>
                        <a:gd name="T22" fmla="*/ 87 w 140"/>
                        <a:gd name="T23" fmla="*/ 22 h 263"/>
                        <a:gd name="T24" fmla="*/ 83 w 140"/>
                        <a:gd name="T25" fmla="*/ 27 h 263"/>
                        <a:gd name="T26" fmla="*/ 57 w 140"/>
                        <a:gd name="T27" fmla="*/ 27 h 263"/>
                        <a:gd name="T28" fmla="*/ 52 w 140"/>
                        <a:gd name="T29" fmla="*/ 22 h 263"/>
                        <a:gd name="T30" fmla="*/ 57 w 140"/>
                        <a:gd name="T31" fmla="*/ 18 h 263"/>
                        <a:gd name="T32" fmla="*/ 70 w 140"/>
                        <a:gd name="T33" fmla="*/ 254 h 263"/>
                        <a:gd name="T34" fmla="*/ 57 w 140"/>
                        <a:gd name="T35" fmla="*/ 241 h 263"/>
                        <a:gd name="T36" fmla="*/ 70 w 140"/>
                        <a:gd name="T37" fmla="*/ 228 h 263"/>
                        <a:gd name="T38" fmla="*/ 83 w 140"/>
                        <a:gd name="T39" fmla="*/ 241 h 263"/>
                        <a:gd name="T40" fmla="*/ 70 w 140"/>
                        <a:gd name="T41" fmla="*/ 254 h 263"/>
                        <a:gd name="T42" fmla="*/ 131 w 140"/>
                        <a:gd name="T43" fmla="*/ 219 h 263"/>
                        <a:gd name="T44" fmla="*/ 8 w 140"/>
                        <a:gd name="T45" fmla="*/ 219 h 263"/>
                        <a:gd name="T46" fmla="*/ 8 w 140"/>
                        <a:gd name="T47" fmla="*/ 44 h 263"/>
                        <a:gd name="T48" fmla="*/ 131 w 140"/>
                        <a:gd name="T49" fmla="*/ 44 h 263"/>
                        <a:gd name="T50" fmla="*/ 131 w 140"/>
                        <a:gd name="T51" fmla="*/ 219 h 2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</a:cxnLst>
                      <a:rect l="0" t="0" r="r" b="b"/>
                      <a:pathLst>
                        <a:path w="140" h="263">
                          <a:moveTo>
                            <a:pt x="118" y="0"/>
                          </a:moveTo>
                          <a:cubicBezTo>
                            <a:pt x="21" y="0"/>
                            <a:pt x="21" y="0"/>
                            <a:pt x="21" y="0"/>
                          </a:cubicBezTo>
                          <a:cubicBezTo>
                            <a:pt x="9" y="0"/>
                            <a:pt x="0" y="10"/>
                            <a:pt x="0" y="22"/>
                          </a:cubicBezTo>
                          <a:cubicBezTo>
                            <a:pt x="0" y="241"/>
                            <a:pt x="0" y="241"/>
                            <a:pt x="0" y="241"/>
                          </a:cubicBezTo>
                          <a:cubicBezTo>
                            <a:pt x="0" y="253"/>
                            <a:pt x="9" y="263"/>
                            <a:pt x="21" y="263"/>
                          </a:cubicBezTo>
                          <a:cubicBezTo>
                            <a:pt x="118" y="263"/>
                            <a:pt x="118" y="263"/>
                            <a:pt x="118" y="263"/>
                          </a:cubicBezTo>
                          <a:cubicBezTo>
                            <a:pt x="130" y="263"/>
                            <a:pt x="140" y="253"/>
                            <a:pt x="140" y="241"/>
                          </a:cubicBezTo>
                          <a:cubicBezTo>
                            <a:pt x="140" y="22"/>
                            <a:pt x="140" y="22"/>
                            <a:pt x="140" y="22"/>
                          </a:cubicBezTo>
                          <a:cubicBezTo>
                            <a:pt x="140" y="10"/>
                            <a:pt x="130" y="0"/>
                            <a:pt x="118" y="0"/>
                          </a:cubicBezTo>
                          <a:close/>
                          <a:moveTo>
                            <a:pt x="57" y="18"/>
                          </a:moveTo>
                          <a:cubicBezTo>
                            <a:pt x="83" y="18"/>
                            <a:pt x="83" y="18"/>
                            <a:pt x="83" y="18"/>
                          </a:cubicBezTo>
                          <a:cubicBezTo>
                            <a:pt x="85" y="18"/>
                            <a:pt x="87" y="20"/>
                            <a:pt x="87" y="22"/>
                          </a:cubicBezTo>
                          <a:cubicBezTo>
                            <a:pt x="87" y="25"/>
                            <a:pt x="85" y="27"/>
                            <a:pt x="83" y="27"/>
                          </a:cubicBezTo>
                          <a:cubicBezTo>
                            <a:pt x="57" y="27"/>
                            <a:pt x="57" y="27"/>
                            <a:pt x="57" y="27"/>
                          </a:cubicBezTo>
                          <a:cubicBezTo>
                            <a:pt x="54" y="27"/>
                            <a:pt x="52" y="25"/>
                            <a:pt x="52" y="22"/>
                          </a:cubicBezTo>
                          <a:cubicBezTo>
                            <a:pt x="52" y="20"/>
                            <a:pt x="54" y="18"/>
                            <a:pt x="57" y="18"/>
                          </a:cubicBezTo>
                          <a:close/>
                          <a:moveTo>
                            <a:pt x="70" y="254"/>
                          </a:moveTo>
                          <a:cubicBezTo>
                            <a:pt x="62" y="254"/>
                            <a:pt x="57" y="249"/>
                            <a:pt x="57" y="241"/>
                          </a:cubicBezTo>
                          <a:cubicBezTo>
                            <a:pt x="57" y="234"/>
                            <a:pt x="62" y="228"/>
                            <a:pt x="70" y="228"/>
                          </a:cubicBezTo>
                          <a:cubicBezTo>
                            <a:pt x="77" y="228"/>
                            <a:pt x="83" y="234"/>
                            <a:pt x="83" y="241"/>
                          </a:cubicBezTo>
                          <a:cubicBezTo>
                            <a:pt x="83" y="249"/>
                            <a:pt x="77" y="254"/>
                            <a:pt x="70" y="254"/>
                          </a:cubicBezTo>
                          <a:close/>
                          <a:moveTo>
                            <a:pt x="131" y="219"/>
                          </a:moveTo>
                          <a:cubicBezTo>
                            <a:pt x="8" y="219"/>
                            <a:pt x="8" y="219"/>
                            <a:pt x="8" y="219"/>
                          </a:cubicBezTo>
                          <a:cubicBezTo>
                            <a:pt x="8" y="44"/>
                            <a:pt x="8" y="44"/>
                            <a:pt x="8" y="44"/>
                          </a:cubicBezTo>
                          <a:cubicBezTo>
                            <a:pt x="131" y="44"/>
                            <a:pt x="131" y="44"/>
                            <a:pt x="131" y="44"/>
                          </a:cubicBezTo>
                          <a:lnTo>
                            <a:pt x="131" y="219"/>
                          </a:lnTo>
                          <a:close/>
                        </a:path>
                      </a:pathLst>
                    </a:custGeom>
                    <a:solidFill>
                      <a:srgbClr val="689C41"/>
                    </a:solidFill>
                    <a:ln>
                      <a:solidFill>
                        <a:srgbClr val="689C41"/>
                      </a:solidFill>
                    </a:ln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109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217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326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434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543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652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760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869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base">
                        <a:spcBef>
                          <a:spcPct val="31250"/>
                        </a:spcBef>
                        <a:spcAft>
                          <a:spcPct val="0"/>
                        </a:spcAft>
                        <a:buClr>
                          <a:srgbClr val="00529B"/>
                        </a:buClr>
                        <a:buSzPct val="100000"/>
                      </a:pPr>
                      <a:endParaRPr lang="en-US" sz="1600" kern="0" dirty="0">
                        <a:solidFill>
                          <a:srgbClr val="000000"/>
                        </a:solidFill>
                        <a:latin typeface="Arial"/>
                        <a:ea typeface="Arial Unicode MS"/>
                        <a:cs typeface="Arial Unicode MS"/>
                      </a:endParaRPr>
                    </a:p>
                  </p:txBody>
                </p:sp>
              </p:grpSp>
              <p:grpSp>
                <p:nvGrpSpPr>
                  <p:cNvPr id="38" name="Group 37">
                    <a:extLst>
                      <a:ext uri="{FF2B5EF4-FFF2-40B4-BE49-F238E27FC236}">
                        <a16:creationId xmlns:a16="http://schemas.microsoft.com/office/drawing/2014/main" id="{2BD9A6D7-EC43-419F-A4A2-4BA810C2E456}"/>
                      </a:ext>
                    </a:extLst>
                  </p:cNvPr>
                  <p:cNvGrpSpPr/>
                  <p:nvPr/>
                </p:nvGrpSpPr>
                <p:grpSpPr>
                  <a:xfrm>
                    <a:off x="8508180" y="3034037"/>
                    <a:ext cx="251905" cy="435527"/>
                    <a:chOff x="8508180" y="3034037"/>
                    <a:chExt cx="251905" cy="435527"/>
                  </a:xfrm>
                </p:grpSpPr>
                <p:sp>
                  <p:nvSpPr>
                    <p:cNvPr id="39" name="Rectangle 38">
                      <a:extLst>
                        <a:ext uri="{FF2B5EF4-FFF2-40B4-BE49-F238E27FC236}">
                          <a16:creationId xmlns:a16="http://schemas.microsoft.com/office/drawing/2014/main" id="{DF1BB7F2-B411-4BAA-B739-6F839B367F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534798" y="3062743"/>
                      <a:ext cx="200673" cy="327582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solidFill>
                        <a:srgbClr val="689C4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109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217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326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434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543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652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760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869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sv-SE" sz="3599"/>
                    </a:p>
                  </p:txBody>
                </p:sp>
                <p:sp>
                  <p:nvSpPr>
                    <p:cNvPr id="40" name="Freeform 94">
                      <a:extLst>
                        <a:ext uri="{FF2B5EF4-FFF2-40B4-BE49-F238E27FC236}">
                          <a16:creationId xmlns:a16="http://schemas.microsoft.com/office/drawing/2014/main" id="{A2E1D971-7EDB-45F8-AFC5-5A409BC12CDD}"/>
                        </a:ext>
                      </a:extLst>
                    </p:cNvPr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8508180" y="3034037"/>
                      <a:ext cx="251905" cy="435527"/>
                    </a:xfrm>
                    <a:custGeom>
                      <a:avLst/>
                      <a:gdLst>
                        <a:gd name="T0" fmla="*/ 694 w 805"/>
                        <a:gd name="T1" fmla="*/ 1097 h 1361"/>
                        <a:gd name="T2" fmla="*/ 694 w 805"/>
                        <a:gd name="T3" fmla="*/ 1097 h 1361"/>
                        <a:gd name="T4" fmla="*/ 111 w 805"/>
                        <a:gd name="T5" fmla="*/ 1097 h 1361"/>
                        <a:gd name="T6" fmla="*/ 111 w 805"/>
                        <a:gd name="T7" fmla="*/ 180 h 1361"/>
                        <a:gd name="T8" fmla="*/ 694 w 805"/>
                        <a:gd name="T9" fmla="*/ 180 h 1361"/>
                        <a:gd name="T10" fmla="*/ 694 w 805"/>
                        <a:gd name="T11" fmla="*/ 1097 h 1361"/>
                        <a:gd name="T12" fmla="*/ 694 w 805"/>
                        <a:gd name="T13" fmla="*/ 1097 h 1361"/>
                        <a:gd name="T14" fmla="*/ 403 w 805"/>
                        <a:gd name="T15" fmla="*/ 1305 h 1361"/>
                        <a:gd name="T16" fmla="*/ 403 w 805"/>
                        <a:gd name="T17" fmla="*/ 1305 h 1361"/>
                        <a:gd name="T18" fmla="*/ 305 w 805"/>
                        <a:gd name="T19" fmla="*/ 1236 h 1361"/>
                        <a:gd name="T20" fmla="*/ 403 w 805"/>
                        <a:gd name="T21" fmla="*/ 1166 h 1361"/>
                        <a:gd name="T22" fmla="*/ 500 w 805"/>
                        <a:gd name="T23" fmla="*/ 1236 h 1361"/>
                        <a:gd name="T24" fmla="*/ 403 w 805"/>
                        <a:gd name="T25" fmla="*/ 1305 h 1361"/>
                        <a:gd name="T26" fmla="*/ 403 w 805"/>
                        <a:gd name="T27" fmla="*/ 1305 h 1361"/>
                        <a:gd name="T28" fmla="*/ 667 w 805"/>
                        <a:gd name="T29" fmla="*/ 0 h 1361"/>
                        <a:gd name="T30" fmla="*/ 667 w 805"/>
                        <a:gd name="T31" fmla="*/ 0 h 1361"/>
                        <a:gd name="T32" fmla="*/ 139 w 805"/>
                        <a:gd name="T33" fmla="*/ 0 h 1361"/>
                        <a:gd name="T34" fmla="*/ 0 w 805"/>
                        <a:gd name="T35" fmla="*/ 139 h 1361"/>
                        <a:gd name="T36" fmla="*/ 0 w 805"/>
                        <a:gd name="T37" fmla="*/ 1222 h 1361"/>
                        <a:gd name="T38" fmla="*/ 139 w 805"/>
                        <a:gd name="T39" fmla="*/ 1361 h 1361"/>
                        <a:gd name="T40" fmla="*/ 667 w 805"/>
                        <a:gd name="T41" fmla="*/ 1361 h 1361"/>
                        <a:gd name="T42" fmla="*/ 805 w 805"/>
                        <a:gd name="T43" fmla="*/ 1222 h 1361"/>
                        <a:gd name="T44" fmla="*/ 805 w 805"/>
                        <a:gd name="T45" fmla="*/ 139 h 1361"/>
                        <a:gd name="T46" fmla="*/ 667 w 805"/>
                        <a:gd name="T47" fmla="*/ 0 h 1361"/>
                        <a:gd name="T48" fmla="*/ 667 w 805"/>
                        <a:gd name="T49" fmla="*/ 0 h 13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805" h="1361">
                          <a:moveTo>
                            <a:pt x="694" y="1097"/>
                          </a:moveTo>
                          <a:lnTo>
                            <a:pt x="694" y="1097"/>
                          </a:lnTo>
                          <a:lnTo>
                            <a:pt x="111" y="1097"/>
                          </a:lnTo>
                          <a:lnTo>
                            <a:pt x="111" y="180"/>
                          </a:lnTo>
                          <a:lnTo>
                            <a:pt x="694" y="180"/>
                          </a:lnTo>
                          <a:lnTo>
                            <a:pt x="694" y="1097"/>
                          </a:lnTo>
                          <a:lnTo>
                            <a:pt x="694" y="1097"/>
                          </a:lnTo>
                          <a:close/>
                          <a:moveTo>
                            <a:pt x="403" y="1305"/>
                          </a:moveTo>
                          <a:lnTo>
                            <a:pt x="403" y="1305"/>
                          </a:lnTo>
                          <a:cubicBezTo>
                            <a:pt x="349" y="1305"/>
                            <a:pt x="305" y="1274"/>
                            <a:pt x="305" y="1236"/>
                          </a:cubicBezTo>
                          <a:cubicBezTo>
                            <a:pt x="305" y="1197"/>
                            <a:pt x="349" y="1166"/>
                            <a:pt x="403" y="1166"/>
                          </a:cubicBezTo>
                          <a:cubicBezTo>
                            <a:pt x="456" y="1166"/>
                            <a:pt x="500" y="1197"/>
                            <a:pt x="500" y="1236"/>
                          </a:cubicBezTo>
                          <a:cubicBezTo>
                            <a:pt x="500" y="1274"/>
                            <a:pt x="456" y="1305"/>
                            <a:pt x="403" y="1305"/>
                          </a:cubicBezTo>
                          <a:lnTo>
                            <a:pt x="403" y="1305"/>
                          </a:lnTo>
                          <a:close/>
                          <a:moveTo>
                            <a:pt x="667" y="0"/>
                          </a:moveTo>
                          <a:lnTo>
                            <a:pt x="667" y="0"/>
                          </a:lnTo>
                          <a:lnTo>
                            <a:pt x="139" y="0"/>
                          </a:lnTo>
                          <a:cubicBezTo>
                            <a:pt x="62" y="0"/>
                            <a:pt x="0" y="62"/>
                            <a:pt x="0" y="139"/>
                          </a:cubicBezTo>
                          <a:lnTo>
                            <a:pt x="0" y="1222"/>
                          </a:lnTo>
                          <a:cubicBezTo>
                            <a:pt x="0" y="1298"/>
                            <a:pt x="62" y="1361"/>
                            <a:pt x="139" y="1361"/>
                          </a:cubicBezTo>
                          <a:lnTo>
                            <a:pt x="667" y="1361"/>
                          </a:lnTo>
                          <a:cubicBezTo>
                            <a:pt x="743" y="1361"/>
                            <a:pt x="805" y="1298"/>
                            <a:pt x="805" y="1222"/>
                          </a:cubicBezTo>
                          <a:lnTo>
                            <a:pt x="805" y="139"/>
                          </a:lnTo>
                          <a:cubicBezTo>
                            <a:pt x="805" y="62"/>
                            <a:pt x="743" y="0"/>
                            <a:pt x="667" y="0"/>
                          </a:cubicBezTo>
                          <a:lnTo>
                            <a:pt x="667" y="0"/>
                          </a:lnTo>
                          <a:close/>
                        </a:path>
                      </a:pathLst>
                    </a:custGeom>
                    <a:solidFill>
                      <a:srgbClr val="689C41"/>
                    </a:solidFill>
                    <a:ln w="0">
                      <a:solidFill>
                        <a:srgbClr val="689C4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109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217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326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434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543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652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760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869" algn="l" defTabSz="91421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defTabSz="914172" fontAlgn="base">
                        <a:spcBef>
                          <a:spcPct val="31250"/>
                        </a:spcBef>
                        <a:spcAft>
                          <a:spcPct val="0"/>
                        </a:spcAft>
                        <a:buClr>
                          <a:srgbClr val="00529B"/>
                        </a:buClr>
                        <a:buSzPct val="100000"/>
                        <a:defRPr/>
                      </a:pPr>
                      <a:endParaRPr lang="en-US" sz="1600" kern="0" dirty="0">
                        <a:solidFill>
                          <a:srgbClr val="000000"/>
                        </a:solidFill>
                        <a:latin typeface="Arial"/>
                        <a:ea typeface="Arial Unicode MS"/>
                        <a:cs typeface="Arial Unicode MS"/>
                      </a:endParaRPr>
                    </a:p>
                  </p:txBody>
                </p:sp>
              </p:grpSp>
            </p:grpSp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1F494688-4DC0-4827-C793-C0234644C148}"/>
                    </a:ext>
                  </a:extLst>
                </p:cNvPr>
                <p:cNvGrpSpPr/>
                <p:nvPr/>
              </p:nvGrpSpPr>
              <p:grpSpPr>
                <a:xfrm>
                  <a:off x="8869522" y="2768588"/>
                  <a:ext cx="378686" cy="373534"/>
                  <a:chOff x="8869523" y="2768589"/>
                  <a:chExt cx="6391216" cy="6304262"/>
                </a:xfrm>
              </p:grpSpPr>
              <p:sp>
                <p:nvSpPr>
                  <p:cNvPr id="33" name="Shape 63">
                    <a:extLst>
                      <a:ext uri="{FF2B5EF4-FFF2-40B4-BE49-F238E27FC236}">
                        <a16:creationId xmlns:a16="http://schemas.microsoft.com/office/drawing/2014/main" id="{CDA7621B-9526-0A22-B226-C7472F5784AA}"/>
                      </a:ext>
                    </a:extLst>
                  </p:cNvPr>
                  <p:cNvSpPr/>
                  <p:nvPr/>
                </p:nvSpPr>
                <p:spPr>
                  <a:xfrm>
                    <a:off x="8869523" y="5042966"/>
                    <a:ext cx="2994851" cy="3496676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12684" y="21600"/>
                        </a:moveTo>
                        <a:cubicBezTo>
                          <a:pt x="9892" y="21600"/>
                          <a:pt x="7591" y="19609"/>
                          <a:pt x="7591" y="17196"/>
                        </a:cubicBezTo>
                        <a:cubicBezTo>
                          <a:pt x="7591" y="16518"/>
                          <a:pt x="7934" y="15373"/>
                          <a:pt x="8425" y="14654"/>
                        </a:cubicBezTo>
                        <a:lnTo>
                          <a:pt x="9990" y="12240"/>
                        </a:lnTo>
                        <a:lnTo>
                          <a:pt x="21600" y="12240"/>
                        </a:lnTo>
                        <a:lnTo>
                          <a:pt x="21600" y="21600"/>
                        </a:lnTo>
                        <a:lnTo>
                          <a:pt x="12684" y="21600"/>
                        </a:lnTo>
                        <a:cubicBezTo>
                          <a:pt x="12684" y="21600"/>
                          <a:pt x="12684" y="21600"/>
                          <a:pt x="12684" y="21600"/>
                        </a:cubicBezTo>
                        <a:close/>
                        <a:moveTo>
                          <a:pt x="7297" y="14273"/>
                        </a:moveTo>
                        <a:cubicBezTo>
                          <a:pt x="6807" y="15034"/>
                          <a:pt x="6417" y="16179"/>
                          <a:pt x="6417" y="16900"/>
                        </a:cubicBezTo>
                        <a:cubicBezTo>
                          <a:pt x="6417" y="17068"/>
                          <a:pt x="6417" y="17281"/>
                          <a:pt x="6465" y="17576"/>
                        </a:cubicBezTo>
                        <a:lnTo>
                          <a:pt x="342" y="8471"/>
                        </a:lnTo>
                        <a:cubicBezTo>
                          <a:pt x="146" y="8175"/>
                          <a:pt x="0" y="7751"/>
                          <a:pt x="0" y="7369"/>
                        </a:cubicBezTo>
                        <a:cubicBezTo>
                          <a:pt x="0" y="6987"/>
                          <a:pt x="146" y="6522"/>
                          <a:pt x="342" y="6226"/>
                        </a:cubicBezTo>
                        <a:lnTo>
                          <a:pt x="3281" y="1779"/>
                        </a:lnTo>
                        <a:lnTo>
                          <a:pt x="0" y="171"/>
                        </a:lnTo>
                        <a:lnTo>
                          <a:pt x="10678" y="0"/>
                        </a:lnTo>
                        <a:lnTo>
                          <a:pt x="15869" y="8089"/>
                        </a:lnTo>
                        <a:lnTo>
                          <a:pt x="12540" y="6437"/>
                        </a:lnTo>
                        <a:cubicBezTo>
                          <a:pt x="12540" y="6437"/>
                          <a:pt x="7297" y="14273"/>
                          <a:pt x="7297" y="14273"/>
                        </a:cubicBezTo>
                        <a:close/>
                      </a:path>
                    </a:pathLst>
                  </a:custGeom>
                  <a:solidFill>
                    <a:srgbClr val="689C41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ctr">
                    <a:noAutofit/>
                  </a:bodyPr>
                  <a:lstStyle>
                    <a:defPPr>
                      <a:defRPr lang="en-US"/>
                    </a:defPPr>
                    <a:lvl1pPr marL="0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109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217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326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434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543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652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760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869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defTabSz="821355">
                      <a:lnSpc>
                        <a:spcPct val="110000"/>
                      </a:lnSpc>
                      <a:spcBef>
                        <a:spcPts val="4218"/>
                      </a:spcBef>
                      <a:defRPr sz="2000">
                        <a:solidFill>
                          <a:srgbClr val="4C4C4C"/>
                        </a:solidFill>
                        <a:latin typeface="Helvetica Neue Light"/>
                        <a:ea typeface="Helvetica Neue Light"/>
                        <a:cs typeface="Helvetica Neue Light"/>
                        <a:sym typeface="Helvetica Neue Light"/>
                      </a:defRPr>
                    </a:pPr>
                    <a:endParaRPr sz="2813" kern="0" dirty="0">
                      <a:solidFill>
                        <a:srgbClr val="4C4C4C"/>
                      </a:solidFill>
                      <a:latin typeface="Lato Light" panose="020F0502020204030203" pitchFamily="34" charset="0"/>
                      <a:ea typeface="Lato Light" panose="020F0502020204030203" pitchFamily="34" charset="0"/>
                      <a:cs typeface="Lato Light" panose="020F0502020204030203" pitchFamily="34" charset="0"/>
                      <a:sym typeface="Helvetica Neue Light"/>
                    </a:endParaRPr>
                  </a:p>
                </p:txBody>
              </p:sp>
              <p:sp>
                <p:nvSpPr>
                  <p:cNvPr id="34" name="Shape 64">
                    <a:extLst>
                      <a:ext uri="{FF2B5EF4-FFF2-40B4-BE49-F238E27FC236}">
                        <a16:creationId xmlns:a16="http://schemas.microsoft.com/office/drawing/2014/main" id="{22AC5E8A-39E6-687A-567A-9D376ED3E838}"/>
                      </a:ext>
                    </a:extLst>
                  </p:cNvPr>
                  <p:cNvSpPr/>
                  <p:nvPr/>
                </p:nvSpPr>
                <p:spPr>
                  <a:xfrm>
                    <a:off x="12299636" y="4732824"/>
                    <a:ext cx="2961103" cy="4340027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20904" y="5358"/>
                        </a:moveTo>
                        <a:cubicBezTo>
                          <a:pt x="21351" y="5904"/>
                          <a:pt x="21600" y="6483"/>
                          <a:pt x="21600" y="7098"/>
                        </a:cubicBezTo>
                        <a:cubicBezTo>
                          <a:pt x="21600" y="8327"/>
                          <a:pt x="20459" y="9623"/>
                          <a:pt x="18876" y="10236"/>
                        </a:cubicBezTo>
                        <a:cubicBezTo>
                          <a:pt x="18132" y="10511"/>
                          <a:pt x="17090" y="10682"/>
                          <a:pt x="16052" y="10682"/>
                        </a:cubicBezTo>
                        <a:lnTo>
                          <a:pt x="12780" y="10682"/>
                        </a:lnTo>
                        <a:lnTo>
                          <a:pt x="6937" y="3719"/>
                        </a:lnTo>
                        <a:lnTo>
                          <a:pt x="16398" y="0"/>
                        </a:lnTo>
                        <a:cubicBezTo>
                          <a:pt x="16398" y="0"/>
                          <a:pt x="20904" y="5358"/>
                          <a:pt x="20904" y="5358"/>
                        </a:cubicBezTo>
                        <a:close/>
                        <a:moveTo>
                          <a:pt x="16151" y="11500"/>
                        </a:moveTo>
                        <a:cubicBezTo>
                          <a:pt x="17636" y="11500"/>
                          <a:pt x="18876" y="11227"/>
                          <a:pt x="19915" y="10682"/>
                        </a:cubicBezTo>
                        <a:lnTo>
                          <a:pt x="13771" y="18052"/>
                        </a:lnTo>
                        <a:cubicBezTo>
                          <a:pt x="13276" y="18631"/>
                          <a:pt x="12386" y="18973"/>
                          <a:pt x="11346" y="18973"/>
                        </a:cubicBezTo>
                        <a:lnTo>
                          <a:pt x="5548" y="18973"/>
                        </a:lnTo>
                        <a:lnTo>
                          <a:pt x="5548" y="21600"/>
                        </a:lnTo>
                        <a:lnTo>
                          <a:pt x="0" y="15220"/>
                        </a:lnTo>
                        <a:lnTo>
                          <a:pt x="5548" y="8838"/>
                        </a:lnTo>
                        <a:lnTo>
                          <a:pt x="5548" y="11500"/>
                        </a:lnTo>
                        <a:lnTo>
                          <a:pt x="16151" y="11500"/>
                        </a:lnTo>
                        <a:cubicBezTo>
                          <a:pt x="16151" y="11500"/>
                          <a:pt x="16151" y="11500"/>
                          <a:pt x="16151" y="11500"/>
                        </a:cubicBezTo>
                        <a:close/>
                      </a:path>
                    </a:pathLst>
                  </a:custGeom>
                  <a:solidFill>
                    <a:srgbClr val="689C41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ctr">
                    <a:noAutofit/>
                  </a:bodyPr>
                  <a:lstStyle>
                    <a:defPPr>
                      <a:defRPr lang="en-US"/>
                    </a:defPPr>
                    <a:lvl1pPr marL="0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109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217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326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434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543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652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760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869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defTabSz="821355">
                      <a:lnSpc>
                        <a:spcPct val="110000"/>
                      </a:lnSpc>
                      <a:spcBef>
                        <a:spcPts val="4218"/>
                      </a:spcBef>
                      <a:defRPr sz="2000">
                        <a:solidFill>
                          <a:srgbClr val="4C4C4C"/>
                        </a:solidFill>
                        <a:latin typeface="Helvetica Neue Light"/>
                        <a:ea typeface="Helvetica Neue Light"/>
                        <a:cs typeface="Helvetica Neue Light"/>
                        <a:sym typeface="Helvetica Neue Light"/>
                      </a:defRPr>
                    </a:pPr>
                    <a:endParaRPr sz="2813" kern="0" dirty="0">
                      <a:solidFill>
                        <a:srgbClr val="4C4C4C"/>
                      </a:solidFill>
                      <a:latin typeface="Lato Light" panose="020F0502020204030203" pitchFamily="34" charset="0"/>
                      <a:ea typeface="Lato Light" panose="020F0502020204030203" pitchFamily="34" charset="0"/>
                      <a:cs typeface="Lato Light" panose="020F0502020204030203" pitchFamily="34" charset="0"/>
                      <a:sym typeface="Helvetica Neue Light"/>
                    </a:endParaRPr>
                  </a:p>
                </p:txBody>
              </p:sp>
              <p:sp>
                <p:nvSpPr>
                  <p:cNvPr id="35" name="Shape 65">
                    <a:extLst>
                      <a:ext uri="{FF2B5EF4-FFF2-40B4-BE49-F238E27FC236}">
                        <a16:creationId xmlns:a16="http://schemas.microsoft.com/office/drawing/2014/main" id="{9FD73444-36DC-920A-5AA4-6F1B806EFBE1}"/>
                      </a:ext>
                    </a:extLst>
                  </p:cNvPr>
                  <p:cNvSpPr/>
                  <p:nvPr/>
                </p:nvSpPr>
                <p:spPr>
                  <a:xfrm>
                    <a:off x="9926926" y="2768589"/>
                    <a:ext cx="4468529" cy="2249115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9684" y="3557"/>
                        </a:moveTo>
                        <a:cubicBezTo>
                          <a:pt x="9192" y="1847"/>
                          <a:pt x="8536" y="659"/>
                          <a:pt x="7748" y="0"/>
                        </a:cubicBezTo>
                        <a:lnTo>
                          <a:pt x="15822" y="0"/>
                        </a:lnTo>
                        <a:cubicBezTo>
                          <a:pt x="16545" y="0"/>
                          <a:pt x="17102" y="595"/>
                          <a:pt x="17432" y="1715"/>
                        </a:cubicBezTo>
                        <a:lnTo>
                          <a:pt x="19434" y="8562"/>
                        </a:lnTo>
                        <a:lnTo>
                          <a:pt x="21600" y="5992"/>
                        </a:lnTo>
                        <a:lnTo>
                          <a:pt x="18119" y="18506"/>
                        </a:lnTo>
                        <a:lnTo>
                          <a:pt x="10998" y="18304"/>
                        </a:lnTo>
                        <a:lnTo>
                          <a:pt x="13197" y="15804"/>
                        </a:lnTo>
                        <a:cubicBezTo>
                          <a:pt x="13197" y="15804"/>
                          <a:pt x="9684" y="3557"/>
                          <a:pt x="9684" y="3557"/>
                        </a:cubicBezTo>
                        <a:close/>
                        <a:moveTo>
                          <a:pt x="2987" y="3955"/>
                        </a:moveTo>
                        <a:cubicBezTo>
                          <a:pt x="3611" y="1780"/>
                          <a:pt x="4629" y="595"/>
                          <a:pt x="5875" y="595"/>
                        </a:cubicBezTo>
                        <a:cubicBezTo>
                          <a:pt x="7222" y="595"/>
                          <a:pt x="8273" y="1847"/>
                          <a:pt x="9028" y="4412"/>
                        </a:cubicBezTo>
                        <a:lnTo>
                          <a:pt x="10144" y="8165"/>
                        </a:lnTo>
                        <a:lnTo>
                          <a:pt x="6269" y="21600"/>
                        </a:lnTo>
                        <a:lnTo>
                          <a:pt x="0" y="14290"/>
                        </a:lnTo>
                        <a:cubicBezTo>
                          <a:pt x="0" y="14290"/>
                          <a:pt x="2987" y="3955"/>
                          <a:pt x="2987" y="3955"/>
                        </a:cubicBezTo>
                        <a:close/>
                      </a:path>
                    </a:pathLst>
                  </a:custGeom>
                  <a:solidFill>
                    <a:srgbClr val="689C41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ctr">
                    <a:noAutofit/>
                  </a:bodyPr>
                  <a:lstStyle>
                    <a:defPPr>
                      <a:defRPr lang="en-US"/>
                    </a:defPPr>
                    <a:lvl1pPr marL="0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109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217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326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434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543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652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760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869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defTabSz="821355">
                      <a:lnSpc>
                        <a:spcPct val="110000"/>
                      </a:lnSpc>
                      <a:spcBef>
                        <a:spcPts val="4218"/>
                      </a:spcBef>
                      <a:defRPr sz="2000">
                        <a:solidFill>
                          <a:srgbClr val="4C4C4C"/>
                        </a:solidFill>
                        <a:latin typeface="Helvetica Neue Light"/>
                        <a:ea typeface="Helvetica Neue Light"/>
                        <a:cs typeface="Helvetica Neue Light"/>
                        <a:sym typeface="Helvetica Neue Light"/>
                      </a:defRPr>
                    </a:pPr>
                    <a:endParaRPr sz="2813" kern="0" dirty="0">
                      <a:solidFill>
                        <a:srgbClr val="4C4C4C"/>
                      </a:solidFill>
                      <a:latin typeface="Lato Light" panose="020F0502020204030203" pitchFamily="34" charset="0"/>
                      <a:ea typeface="Lato Light" panose="020F0502020204030203" pitchFamily="34" charset="0"/>
                      <a:cs typeface="Lato Light" panose="020F0502020204030203" pitchFamily="34" charset="0"/>
                      <a:sym typeface="Helvetica Neue Light"/>
                    </a:endParaRPr>
                  </a:p>
                </p:txBody>
              </p:sp>
            </p:grpSp>
          </p:grpSp>
        </p:grpSp>
        <p:sp>
          <p:nvSpPr>
            <p:cNvPr id="13" name="TextBox 202">
              <a:extLst>
                <a:ext uri="{FF2B5EF4-FFF2-40B4-BE49-F238E27FC236}">
                  <a16:creationId xmlns:a16="http://schemas.microsoft.com/office/drawing/2014/main" id="{1B7D712A-D169-4D6F-8D0F-1EF842D0E2C0}"/>
                </a:ext>
              </a:extLst>
            </p:cNvPr>
            <p:cNvSpPr txBox="1"/>
            <p:nvPr/>
          </p:nvSpPr>
          <p:spPr>
            <a:xfrm>
              <a:off x="6834106" y="3019866"/>
              <a:ext cx="156276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9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17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26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34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43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52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60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69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stainable software dev. 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4EFB7E6E-F361-415C-9F9F-85659D186C64}"/>
                </a:ext>
              </a:extLst>
            </p:cNvPr>
            <p:cNvSpPr/>
            <p:nvPr/>
          </p:nvSpPr>
          <p:spPr>
            <a:xfrm>
              <a:off x="7169897" y="2287540"/>
              <a:ext cx="719813" cy="7198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689C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9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17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26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34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43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52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60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69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00" dirty="0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BC74801-385B-7319-E093-1A4E11F553B6}"/>
                </a:ext>
              </a:extLst>
            </p:cNvPr>
            <p:cNvGrpSpPr/>
            <p:nvPr/>
          </p:nvGrpSpPr>
          <p:grpSpPr>
            <a:xfrm>
              <a:off x="5221750" y="2286323"/>
              <a:ext cx="1694696" cy="1193991"/>
              <a:chOff x="5221750" y="2286323"/>
              <a:chExt cx="3389392" cy="2387982"/>
            </a:xfrm>
          </p:grpSpPr>
          <p:sp>
            <p:nvSpPr>
              <p:cNvPr id="22" name="TextBox 180">
                <a:extLst>
                  <a:ext uri="{FF2B5EF4-FFF2-40B4-BE49-F238E27FC236}">
                    <a16:creationId xmlns:a16="http://schemas.microsoft.com/office/drawing/2014/main" id="{443A8741-7FAB-447C-BA7D-A3DC68BE64D4}"/>
                  </a:ext>
                </a:extLst>
              </p:cNvPr>
              <p:cNvSpPr txBox="1"/>
              <p:nvPr/>
            </p:nvSpPr>
            <p:spPr>
              <a:xfrm>
                <a:off x="5221750" y="3750975"/>
                <a:ext cx="3389392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0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17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326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434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543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652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76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686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GB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plication portfolio</a:t>
                </a:r>
                <a:br>
                  <a:rPr lang="en-GB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GB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nagement</a:t>
                </a:r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7BEF8472-8069-9E1F-736F-636B09E0C5B7}"/>
                  </a:ext>
                </a:extLst>
              </p:cNvPr>
              <p:cNvGrpSpPr/>
              <p:nvPr/>
            </p:nvGrpSpPr>
            <p:grpSpPr>
              <a:xfrm>
                <a:off x="6196620" y="2286323"/>
                <a:ext cx="1439626" cy="1439625"/>
                <a:chOff x="6196620" y="2286323"/>
                <a:chExt cx="1439626" cy="1439625"/>
              </a:xfrm>
            </p:grpSpPr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DD642E07-E4FD-4D12-889A-8933DAD3B750}"/>
                    </a:ext>
                  </a:extLst>
                </p:cNvPr>
                <p:cNvSpPr/>
                <p:nvPr/>
              </p:nvSpPr>
              <p:spPr>
                <a:xfrm>
                  <a:off x="6196620" y="2286323"/>
                  <a:ext cx="1439626" cy="1439625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rgbClr val="689C4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09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17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326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434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543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652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760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6869" algn="l" defTabSz="914217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400" dirty="0"/>
                </a:p>
              </p:txBody>
            </p:sp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FA3ADCC5-621A-C91E-ADFC-C7C1F70C7D4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gray">
                <a:xfrm>
                  <a:off x="6466433" y="2712761"/>
                  <a:ext cx="900000" cy="586745"/>
                  <a:chOff x="6466433" y="2712763"/>
                  <a:chExt cx="287338" cy="187325"/>
                </a:xfrm>
                <a:solidFill>
                  <a:srgbClr val="689C41"/>
                </a:solidFill>
              </p:grpSpPr>
              <p:sp>
                <p:nvSpPr>
                  <p:cNvPr id="26" name="Freeform 399">
                    <a:extLst>
                      <a:ext uri="{FF2B5EF4-FFF2-40B4-BE49-F238E27FC236}">
                        <a16:creationId xmlns:a16="http://schemas.microsoft.com/office/drawing/2014/main" id="{DAB536D9-6472-0346-3C0B-45C43DAD20E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6510883" y="2757213"/>
                    <a:ext cx="242888" cy="142875"/>
                  </a:xfrm>
                  <a:custGeom>
                    <a:avLst/>
                    <a:gdLst>
                      <a:gd name="T0" fmla="*/ 0 w 153"/>
                      <a:gd name="T1" fmla="*/ 0 h 90"/>
                      <a:gd name="T2" fmla="*/ 0 w 153"/>
                      <a:gd name="T3" fmla="*/ 90 h 90"/>
                      <a:gd name="T4" fmla="*/ 41 w 153"/>
                      <a:gd name="T5" fmla="*/ 90 h 90"/>
                      <a:gd name="T6" fmla="*/ 41 w 153"/>
                      <a:gd name="T7" fmla="*/ 70 h 90"/>
                      <a:gd name="T8" fmla="*/ 35 w 153"/>
                      <a:gd name="T9" fmla="*/ 70 h 90"/>
                      <a:gd name="T10" fmla="*/ 35 w 153"/>
                      <a:gd name="T11" fmla="*/ 63 h 90"/>
                      <a:gd name="T12" fmla="*/ 41 w 153"/>
                      <a:gd name="T13" fmla="*/ 63 h 90"/>
                      <a:gd name="T14" fmla="*/ 55 w 153"/>
                      <a:gd name="T15" fmla="*/ 63 h 90"/>
                      <a:gd name="T16" fmla="*/ 62 w 153"/>
                      <a:gd name="T17" fmla="*/ 63 h 90"/>
                      <a:gd name="T18" fmla="*/ 62 w 153"/>
                      <a:gd name="T19" fmla="*/ 70 h 90"/>
                      <a:gd name="T20" fmla="*/ 55 w 153"/>
                      <a:gd name="T21" fmla="*/ 70 h 90"/>
                      <a:gd name="T22" fmla="*/ 55 w 153"/>
                      <a:gd name="T23" fmla="*/ 90 h 90"/>
                      <a:gd name="T24" fmla="*/ 97 w 153"/>
                      <a:gd name="T25" fmla="*/ 90 h 90"/>
                      <a:gd name="T26" fmla="*/ 97 w 153"/>
                      <a:gd name="T27" fmla="*/ 70 h 90"/>
                      <a:gd name="T28" fmla="*/ 90 w 153"/>
                      <a:gd name="T29" fmla="*/ 70 h 90"/>
                      <a:gd name="T30" fmla="*/ 90 w 153"/>
                      <a:gd name="T31" fmla="*/ 63 h 90"/>
                      <a:gd name="T32" fmla="*/ 97 w 153"/>
                      <a:gd name="T33" fmla="*/ 63 h 90"/>
                      <a:gd name="T34" fmla="*/ 111 w 153"/>
                      <a:gd name="T35" fmla="*/ 63 h 90"/>
                      <a:gd name="T36" fmla="*/ 118 w 153"/>
                      <a:gd name="T37" fmla="*/ 63 h 90"/>
                      <a:gd name="T38" fmla="*/ 118 w 153"/>
                      <a:gd name="T39" fmla="*/ 70 h 90"/>
                      <a:gd name="T40" fmla="*/ 111 w 153"/>
                      <a:gd name="T41" fmla="*/ 70 h 90"/>
                      <a:gd name="T42" fmla="*/ 111 w 153"/>
                      <a:gd name="T43" fmla="*/ 90 h 90"/>
                      <a:gd name="T44" fmla="*/ 153 w 153"/>
                      <a:gd name="T45" fmla="*/ 90 h 90"/>
                      <a:gd name="T46" fmla="*/ 153 w 153"/>
                      <a:gd name="T47" fmla="*/ 0 h 90"/>
                      <a:gd name="T48" fmla="*/ 0 w 153"/>
                      <a:gd name="T49" fmla="*/ 0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153" h="90">
                        <a:moveTo>
                          <a:pt x="0" y="0"/>
                        </a:moveTo>
                        <a:lnTo>
                          <a:pt x="0" y="90"/>
                        </a:lnTo>
                        <a:lnTo>
                          <a:pt x="41" y="90"/>
                        </a:lnTo>
                        <a:lnTo>
                          <a:pt x="41" y="70"/>
                        </a:lnTo>
                        <a:lnTo>
                          <a:pt x="35" y="70"/>
                        </a:lnTo>
                        <a:lnTo>
                          <a:pt x="35" y="63"/>
                        </a:lnTo>
                        <a:lnTo>
                          <a:pt x="41" y="63"/>
                        </a:lnTo>
                        <a:lnTo>
                          <a:pt x="55" y="63"/>
                        </a:lnTo>
                        <a:lnTo>
                          <a:pt x="62" y="63"/>
                        </a:lnTo>
                        <a:lnTo>
                          <a:pt x="62" y="70"/>
                        </a:lnTo>
                        <a:lnTo>
                          <a:pt x="55" y="70"/>
                        </a:lnTo>
                        <a:lnTo>
                          <a:pt x="55" y="90"/>
                        </a:lnTo>
                        <a:lnTo>
                          <a:pt x="97" y="90"/>
                        </a:lnTo>
                        <a:lnTo>
                          <a:pt x="97" y="70"/>
                        </a:lnTo>
                        <a:lnTo>
                          <a:pt x="90" y="70"/>
                        </a:lnTo>
                        <a:lnTo>
                          <a:pt x="90" y="63"/>
                        </a:lnTo>
                        <a:lnTo>
                          <a:pt x="97" y="63"/>
                        </a:lnTo>
                        <a:lnTo>
                          <a:pt x="111" y="63"/>
                        </a:lnTo>
                        <a:lnTo>
                          <a:pt x="118" y="63"/>
                        </a:lnTo>
                        <a:lnTo>
                          <a:pt x="118" y="70"/>
                        </a:lnTo>
                        <a:lnTo>
                          <a:pt x="111" y="70"/>
                        </a:lnTo>
                        <a:lnTo>
                          <a:pt x="111" y="90"/>
                        </a:lnTo>
                        <a:lnTo>
                          <a:pt x="153" y="90"/>
                        </a:lnTo>
                        <a:lnTo>
                          <a:pt x="153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9C4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45720" tIns="22860" rIns="45720" bIns="2286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109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217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326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434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543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652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760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869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fontAlgn="base">
                      <a:spcBef>
                        <a:spcPct val="31250"/>
                      </a:spcBef>
                      <a:spcAft>
                        <a:spcPct val="0"/>
                      </a:spcAft>
                      <a:buClr>
                        <a:srgbClr val="00529B"/>
                      </a:buClr>
                      <a:buSzPct val="100000"/>
                    </a:pPr>
                    <a:endParaRPr lang="en-US" sz="800" kern="0" dirty="0">
                      <a:solidFill>
                        <a:srgbClr val="000000"/>
                      </a:solidFill>
                      <a:latin typeface="Arial"/>
                      <a:ea typeface="Arial Unicode MS"/>
                      <a:cs typeface="Arial Unicode MS"/>
                    </a:endParaRPr>
                  </a:p>
                </p:txBody>
              </p:sp>
              <p:sp>
                <p:nvSpPr>
                  <p:cNvPr id="27" name="Freeform 400">
                    <a:extLst>
                      <a:ext uri="{FF2B5EF4-FFF2-40B4-BE49-F238E27FC236}">
                        <a16:creationId xmlns:a16="http://schemas.microsoft.com/office/drawing/2014/main" id="{0A26BE70-2630-5189-B871-D7B7B2F729E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6488658" y="2734988"/>
                    <a:ext cx="242888" cy="142875"/>
                  </a:xfrm>
                  <a:custGeom>
                    <a:avLst/>
                    <a:gdLst>
                      <a:gd name="T0" fmla="*/ 7 w 153"/>
                      <a:gd name="T1" fmla="*/ 7 h 90"/>
                      <a:gd name="T2" fmla="*/ 153 w 153"/>
                      <a:gd name="T3" fmla="*/ 7 h 90"/>
                      <a:gd name="T4" fmla="*/ 153 w 153"/>
                      <a:gd name="T5" fmla="*/ 0 h 90"/>
                      <a:gd name="T6" fmla="*/ 0 w 153"/>
                      <a:gd name="T7" fmla="*/ 0 h 90"/>
                      <a:gd name="T8" fmla="*/ 0 w 153"/>
                      <a:gd name="T9" fmla="*/ 90 h 90"/>
                      <a:gd name="T10" fmla="*/ 7 w 153"/>
                      <a:gd name="T11" fmla="*/ 90 h 90"/>
                      <a:gd name="T12" fmla="*/ 7 w 153"/>
                      <a:gd name="T13" fmla="*/ 7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53" h="90">
                        <a:moveTo>
                          <a:pt x="7" y="7"/>
                        </a:moveTo>
                        <a:lnTo>
                          <a:pt x="153" y="7"/>
                        </a:lnTo>
                        <a:lnTo>
                          <a:pt x="153" y="0"/>
                        </a:lnTo>
                        <a:lnTo>
                          <a:pt x="0" y="0"/>
                        </a:lnTo>
                        <a:lnTo>
                          <a:pt x="0" y="90"/>
                        </a:lnTo>
                        <a:lnTo>
                          <a:pt x="7" y="90"/>
                        </a:lnTo>
                        <a:lnTo>
                          <a:pt x="7" y="7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45720" tIns="22860" rIns="45720" bIns="2286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109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217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326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434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543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652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760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869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fontAlgn="base">
                      <a:spcBef>
                        <a:spcPct val="31250"/>
                      </a:spcBef>
                      <a:spcAft>
                        <a:spcPct val="0"/>
                      </a:spcAft>
                      <a:buClr>
                        <a:srgbClr val="00529B"/>
                      </a:buClr>
                      <a:buSzPct val="100000"/>
                    </a:pPr>
                    <a:endParaRPr lang="en-US" sz="800" kern="0" dirty="0">
                      <a:solidFill>
                        <a:srgbClr val="000000"/>
                      </a:solidFill>
                      <a:latin typeface="Arial"/>
                      <a:ea typeface="Arial Unicode MS"/>
                      <a:cs typeface="Arial Unicode MS"/>
                    </a:endParaRPr>
                  </a:p>
                </p:txBody>
              </p:sp>
              <p:sp>
                <p:nvSpPr>
                  <p:cNvPr id="28" name="Freeform 401">
                    <a:extLst>
                      <a:ext uri="{FF2B5EF4-FFF2-40B4-BE49-F238E27FC236}">
                        <a16:creationId xmlns:a16="http://schemas.microsoft.com/office/drawing/2014/main" id="{C9F907BF-6484-2FD8-3582-74B6277590B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6466433" y="2712763"/>
                    <a:ext cx="242888" cy="144463"/>
                  </a:xfrm>
                  <a:custGeom>
                    <a:avLst/>
                    <a:gdLst>
                      <a:gd name="T0" fmla="*/ 6 w 153"/>
                      <a:gd name="T1" fmla="*/ 7 h 91"/>
                      <a:gd name="T2" fmla="*/ 153 w 153"/>
                      <a:gd name="T3" fmla="*/ 7 h 91"/>
                      <a:gd name="T4" fmla="*/ 153 w 153"/>
                      <a:gd name="T5" fmla="*/ 0 h 91"/>
                      <a:gd name="T6" fmla="*/ 0 w 153"/>
                      <a:gd name="T7" fmla="*/ 0 h 91"/>
                      <a:gd name="T8" fmla="*/ 0 w 153"/>
                      <a:gd name="T9" fmla="*/ 91 h 91"/>
                      <a:gd name="T10" fmla="*/ 6 w 153"/>
                      <a:gd name="T11" fmla="*/ 91 h 91"/>
                      <a:gd name="T12" fmla="*/ 6 w 153"/>
                      <a:gd name="T13" fmla="*/ 7 h 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53" h="91">
                        <a:moveTo>
                          <a:pt x="6" y="7"/>
                        </a:moveTo>
                        <a:lnTo>
                          <a:pt x="153" y="7"/>
                        </a:lnTo>
                        <a:lnTo>
                          <a:pt x="153" y="0"/>
                        </a:lnTo>
                        <a:lnTo>
                          <a:pt x="0" y="0"/>
                        </a:lnTo>
                        <a:lnTo>
                          <a:pt x="0" y="91"/>
                        </a:lnTo>
                        <a:lnTo>
                          <a:pt x="6" y="91"/>
                        </a:lnTo>
                        <a:lnTo>
                          <a:pt x="6" y="7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45720" tIns="22860" rIns="45720" bIns="2286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109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217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326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434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543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652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760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869" algn="l" defTabSz="914217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fontAlgn="base">
                      <a:spcBef>
                        <a:spcPct val="31250"/>
                      </a:spcBef>
                      <a:spcAft>
                        <a:spcPct val="0"/>
                      </a:spcAft>
                      <a:buClr>
                        <a:srgbClr val="00529B"/>
                      </a:buClr>
                      <a:buSzPct val="100000"/>
                    </a:pPr>
                    <a:endParaRPr lang="en-US" sz="800" kern="0" dirty="0">
                      <a:solidFill>
                        <a:srgbClr val="000000"/>
                      </a:solidFill>
                      <a:latin typeface="Arial"/>
                      <a:ea typeface="Arial Unicode MS"/>
                      <a:cs typeface="Arial Unicode MS"/>
                    </a:endParaRPr>
                  </a:p>
                </p:txBody>
              </p:sp>
            </p:grpSp>
          </p:grp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E5A784A-721C-64F6-BA88-A3DCF9D5163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58353" y="2374419"/>
              <a:ext cx="558000" cy="558000"/>
              <a:chOff x="7258353" y="2374419"/>
              <a:chExt cx="914400" cy="914400"/>
            </a:xfrm>
            <a:solidFill>
              <a:srgbClr val="689C41"/>
            </a:solidFill>
          </p:grpSpPr>
          <p:pic>
            <p:nvPicPr>
              <p:cNvPr id="20" name="Graphic 337" descr="Laptop with solid fill">
                <a:extLst>
                  <a:ext uri="{FF2B5EF4-FFF2-40B4-BE49-F238E27FC236}">
                    <a16:creationId xmlns:a16="http://schemas.microsoft.com/office/drawing/2014/main" id="{07310804-1968-FF08-F89C-4ACC2705CA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7258353" y="2374419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1" name="Freeform 27">
                <a:extLst>
                  <a:ext uri="{FF2B5EF4-FFF2-40B4-BE49-F238E27FC236}">
                    <a16:creationId xmlns:a16="http://schemas.microsoft.com/office/drawing/2014/main" id="{3E7CFF8B-285D-6F3B-6A21-D6F42D9B3D6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73889" y="2663843"/>
                <a:ext cx="274224" cy="292467"/>
              </a:xfrm>
              <a:custGeom>
                <a:avLst/>
                <a:gdLst/>
                <a:ahLst/>
                <a:cxnLst>
                  <a:cxn ang="0">
                    <a:pos x="86" y="114"/>
                  </a:cxn>
                  <a:cxn ang="0">
                    <a:pos x="0" y="56"/>
                  </a:cxn>
                  <a:cxn ang="0">
                    <a:pos x="107" y="39"/>
                  </a:cxn>
                  <a:cxn ang="0">
                    <a:pos x="99" y="45"/>
                  </a:cxn>
                  <a:cxn ang="0">
                    <a:pos x="13" y="52"/>
                  </a:cxn>
                  <a:cxn ang="0">
                    <a:pos x="79" y="105"/>
                  </a:cxn>
                  <a:cxn ang="0">
                    <a:pos x="86" y="114"/>
                  </a:cxn>
                  <a:cxn ang="0">
                    <a:pos x="163" y="206"/>
                  </a:cxn>
                  <a:cxn ang="0">
                    <a:pos x="174" y="199"/>
                  </a:cxn>
                  <a:cxn ang="0">
                    <a:pos x="166" y="190"/>
                  </a:cxn>
                  <a:cxn ang="0">
                    <a:pos x="154" y="189"/>
                  </a:cxn>
                  <a:cxn ang="0">
                    <a:pos x="131" y="176"/>
                  </a:cxn>
                  <a:cxn ang="0">
                    <a:pos x="119" y="162"/>
                  </a:cxn>
                  <a:cxn ang="0">
                    <a:pos x="106" y="155"/>
                  </a:cxn>
                  <a:cxn ang="0">
                    <a:pos x="94" y="148"/>
                  </a:cxn>
                  <a:cxn ang="0">
                    <a:pos x="82" y="159"/>
                  </a:cxn>
                  <a:cxn ang="0">
                    <a:pos x="69" y="176"/>
                  </a:cxn>
                  <a:cxn ang="0">
                    <a:pos x="46" y="187"/>
                  </a:cxn>
                  <a:cxn ang="0">
                    <a:pos x="37" y="197"/>
                  </a:cxn>
                  <a:cxn ang="0">
                    <a:pos x="53" y="204"/>
                  </a:cxn>
                  <a:cxn ang="0">
                    <a:pos x="73" y="202"/>
                  </a:cxn>
                  <a:cxn ang="0">
                    <a:pos x="90" y="206"/>
                  </a:cxn>
                  <a:cxn ang="0">
                    <a:pos x="106" y="205"/>
                  </a:cxn>
                  <a:cxn ang="0">
                    <a:pos x="120" y="206"/>
                  </a:cxn>
                  <a:cxn ang="0">
                    <a:pos x="130" y="205"/>
                  </a:cxn>
                  <a:cxn ang="0">
                    <a:pos x="151" y="201"/>
                  </a:cxn>
                  <a:cxn ang="0">
                    <a:pos x="163" y="206"/>
                  </a:cxn>
                  <a:cxn ang="0">
                    <a:pos x="9" y="199"/>
                  </a:cxn>
                  <a:cxn ang="0">
                    <a:pos x="6" y="203"/>
                  </a:cxn>
                  <a:cxn ang="0">
                    <a:pos x="9" y="207"/>
                  </a:cxn>
                  <a:cxn ang="0">
                    <a:pos x="13" y="203"/>
                  </a:cxn>
                  <a:cxn ang="0">
                    <a:pos x="9" y="199"/>
                  </a:cxn>
                  <a:cxn ang="0">
                    <a:pos x="26" y="193"/>
                  </a:cxn>
                  <a:cxn ang="0">
                    <a:pos x="19" y="200"/>
                  </a:cxn>
                  <a:cxn ang="0">
                    <a:pos x="33" y="200"/>
                  </a:cxn>
                  <a:cxn ang="0">
                    <a:pos x="26" y="193"/>
                  </a:cxn>
                  <a:cxn ang="0">
                    <a:pos x="185" y="195"/>
                  </a:cxn>
                  <a:cxn ang="0">
                    <a:pos x="179" y="201"/>
                  </a:cxn>
                  <a:cxn ang="0">
                    <a:pos x="185" y="207"/>
                  </a:cxn>
                  <a:cxn ang="0">
                    <a:pos x="191" y="201"/>
                  </a:cxn>
                  <a:cxn ang="0">
                    <a:pos x="185" y="195"/>
                  </a:cxn>
                  <a:cxn ang="0">
                    <a:pos x="115" y="119"/>
                  </a:cxn>
                  <a:cxn ang="0">
                    <a:pos x="197" y="47"/>
                  </a:cxn>
                  <a:cxn ang="0">
                    <a:pos x="96" y="111"/>
                  </a:cxn>
                  <a:cxn ang="0">
                    <a:pos x="161" y="50"/>
                  </a:cxn>
                  <a:cxn ang="0">
                    <a:pos x="98" y="139"/>
                  </a:cxn>
                  <a:cxn ang="0">
                    <a:pos x="109" y="145"/>
                  </a:cxn>
                  <a:cxn ang="0">
                    <a:pos x="110" y="145"/>
                  </a:cxn>
                  <a:cxn ang="0">
                    <a:pos x="115" y="119"/>
                  </a:cxn>
                  <a:cxn ang="0">
                    <a:pos x="41" y="47"/>
                  </a:cxn>
                  <a:cxn ang="0">
                    <a:pos x="83" y="65"/>
                  </a:cxn>
                  <a:cxn ang="0">
                    <a:pos x="89" y="56"/>
                  </a:cxn>
                  <a:cxn ang="0">
                    <a:pos x="41" y="47"/>
                  </a:cxn>
                </a:cxnLst>
                <a:rect l="0" t="0" r="r" b="b"/>
                <a:pathLst>
                  <a:path w="197" h="210">
                    <a:moveTo>
                      <a:pt x="86" y="114"/>
                    </a:moveTo>
                    <a:cubicBezTo>
                      <a:pt x="48" y="116"/>
                      <a:pt x="26" y="68"/>
                      <a:pt x="0" y="56"/>
                    </a:cubicBezTo>
                    <a:cubicBezTo>
                      <a:pt x="22" y="16"/>
                      <a:pt x="78" y="11"/>
                      <a:pt x="107" y="39"/>
                    </a:cubicBezTo>
                    <a:cubicBezTo>
                      <a:pt x="104" y="41"/>
                      <a:pt x="101" y="43"/>
                      <a:pt x="99" y="45"/>
                    </a:cubicBezTo>
                    <a:cubicBezTo>
                      <a:pt x="66" y="20"/>
                      <a:pt x="27" y="34"/>
                      <a:pt x="13" y="52"/>
                    </a:cubicBezTo>
                    <a:cubicBezTo>
                      <a:pt x="37" y="67"/>
                      <a:pt x="54" y="100"/>
                      <a:pt x="79" y="105"/>
                    </a:cubicBezTo>
                    <a:cubicBezTo>
                      <a:pt x="81" y="109"/>
                      <a:pt x="83" y="112"/>
                      <a:pt x="86" y="114"/>
                    </a:cubicBezTo>
                    <a:close/>
                    <a:moveTo>
                      <a:pt x="163" y="206"/>
                    </a:moveTo>
                    <a:cubicBezTo>
                      <a:pt x="168" y="208"/>
                      <a:pt x="174" y="204"/>
                      <a:pt x="174" y="199"/>
                    </a:cubicBezTo>
                    <a:cubicBezTo>
                      <a:pt x="174" y="194"/>
                      <a:pt x="171" y="191"/>
                      <a:pt x="166" y="190"/>
                    </a:cubicBezTo>
                    <a:cubicBezTo>
                      <a:pt x="163" y="187"/>
                      <a:pt x="158" y="187"/>
                      <a:pt x="154" y="189"/>
                    </a:cubicBezTo>
                    <a:cubicBezTo>
                      <a:pt x="153" y="178"/>
                      <a:pt x="141" y="171"/>
                      <a:pt x="131" y="176"/>
                    </a:cubicBezTo>
                    <a:cubicBezTo>
                      <a:pt x="132" y="169"/>
                      <a:pt x="126" y="163"/>
                      <a:pt x="119" y="162"/>
                    </a:cubicBezTo>
                    <a:cubicBezTo>
                      <a:pt x="119" y="156"/>
                      <a:pt x="111" y="152"/>
                      <a:pt x="106" y="155"/>
                    </a:cubicBezTo>
                    <a:cubicBezTo>
                      <a:pt x="104" y="151"/>
                      <a:pt x="99" y="148"/>
                      <a:pt x="94" y="148"/>
                    </a:cubicBezTo>
                    <a:cubicBezTo>
                      <a:pt x="88" y="148"/>
                      <a:pt x="82" y="153"/>
                      <a:pt x="82" y="159"/>
                    </a:cubicBezTo>
                    <a:cubicBezTo>
                      <a:pt x="73" y="159"/>
                      <a:pt x="67" y="168"/>
                      <a:pt x="69" y="176"/>
                    </a:cubicBezTo>
                    <a:cubicBezTo>
                      <a:pt x="60" y="171"/>
                      <a:pt x="48" y="177"/>
                      <a:pt x="46" y="187"/>
                    </a:cubicBezTo>
                    <a:cubicBezTo>
                      <a:pt x="41" y="188"/>
                      <a:pt x="37" y="192"/>
                      <a:pt x="37" y="197"/>
                    </a:cubicBezTo>
                    <a:cubicBezTo>
                      <a:pt x="37" y="206"/>
                      <a:pt x="47" y="210"/>
                      <a:pt x="53" y="204"/>
                    </a:cubicBezTo>
                    <a:cubicBezTo>
                      <a:pt x="58" y="208"/>
                      <a:pt x="69" y="208"/>
                      <a:pt x="73" y="202"/>
                    </a:cubicBezTo>
                    <a:cubicBezTo>
                      <a:pt x="78" y="207"/>
                      <a:pt x="85" y="208"/>
                      <a:pt x="90" y="206"/>
                    </a:cubicBezTo>
                    <a:cubicBezTo>
                      <a:pt x="94" y="207"/>
                      <a:pt x="102" y="208"/>
                      <a:pt x="106" y="205"/>
                    </a:cubicBezTo>
                    <a:cubicBezTo>
                      <a:pt x="110" y="207"/>
                      <a:pt x="115" y="207"/>
                      <a:pt x="120" y="206"/>
                    </a:cubicBezTo>
                    <a:cubicBezTo>
                      <a:pt x="123" y="208"/>
                      <a:pt x="127" y="207"/>
                      <a:pt x="130" y="205"/>
                    </a:cubicBezTo>
                    <a:cubicBezTo>
                      <a:pt x="136" y="209"/>
                      <a:pt x="146" y="206"/>
                      <a:pt x="151" y="201"/>
                    </a:cubicBezTo>
                    <a:cubicBezTo>
                      <a:pt x="153" y="206"/>
                      <a:pt x="158" y="208"/>
                      <a:pt x="163" y="206"/>
                    </a:cubicBezTo>
                    <a:close/>
                    <a:moveTo>
                      <a:pt x="9" y="199"/>
                    </a:moveTo>
                    <a:cubicBezTo>
                      <a:pt x="7" y="199"/>
                      <a:pt x="6" y="201"/>
                      <a:pt x="6" y="203"/>
                    </a:cubicBezTo>
                    <a:cubicBezTo>
                      <a:pt x="6" y="205"/>
                      <a:pt x="7" y="207"/>
                      <a:pt x="9" y="207"/>
                    </a:cubicBezTo>
                    <a:cubicBezTo>
                      <a:pt x="11" y="207"/>
                      <a:pt x="13" y="205"/>
                      <a:pt x="13" y="203"/>
                    </a:cubicBezTo>
                    <a:cubicBezTo>
                      <a:pt x="13" y="201"/>
                      <a:pt x="11" y="199"/>
                      <a:pt x="9" y="199"/>
                    </a:cubicBezTo>
                    <a:close/>
                    <a:moveTo>
                      <a:pt x="26" y="193"/>
                    </a:moveTo>
                    <a:cubicBezTo>
                      <a:pt x="22" y="193"/>
                      <a:pt x="19" y="196"/>
                      <a:pt x="19" y="200"/>
                    </a:cubicBezTo>
                    <a:cubicBezTo>
                      <a:pt x="19" y="209"/>
                      <a:pt x="33" y="209"/>
                      <a:pt x="33" y="200"/>
                    </a:cubicBezTo>
                    <a:cubicBezTo>
                      <a:pt x="33" y="196"/>
                      <a:pt x="30" y="193"/>
                      <a:pt x="26" y="193"/>
                    </a:cubicBezTo>
                    <a:close/>
                    <a:moveTo>
                      <a:pt x="185" y="195"/>
                    </a:moveTo>
                    <a:cubicBezTo>
                      <a:pt x="182" y="195"/>
                      <a:pt x="179" y="198"/>
                      <a:pt x="179" y="201"/>
                    </a:cubicBezTo>
                    <a:cubicBezTo>
                      <a:pt x="179" y="204"/>
                      <a:pt x="182" y="207"/>
                      <a:pt x="185" y="207"/>
                    </a:cubicBezTo>
                    <a:cubicBezTo>
                      <a:pt x="188" y="207"/>
                      <a:pt x="191" y="204"/>
                      <a:pt x="191" y="201"/>
                    </a:cubicBezTo>
                    <a:cubicBezTo>
                      <a:pt x="191" y="198"/>
                      <a:pt x="188" y="195"/>
                      <a:pt x="185" y="195"/>
                    </a:cubicBezTo>
                    <a:close/>
                    <a:moveTo>
                      <a:pt x="115" y="119"/>
                    </a:moveTo>
                    <a:cubicBezTo>
                      <a:pt x="178" y="145"/>
                      <a:pt x="177" y="65"/>
                      <a:pt x="197" y="47"/>
                    </a:cubicBezTo>
                    <a:cubicBezTo>
                      <a:pt x="126" y="0"/>
                      <a:pt x="56" y="85"/>
                      <a:pt x="96" y="111"/>
                    </a:cubicBezTo>
                    <a:cubicBezTo>
                      <a:pt x="111" y="77"/>
                      <a:pt x="135" y="52"/>
                      <a:pt x="161" y="50"/>
                    </a:cubicBezTo>
                    <a:cubicBezTo>
                      <a:pt x="128" y="69"/>
                      <a:pt x="103" y="102"/>
                      <a:pt x="98" y="139"/>
                    </a:cubicBezTo>
                    <a:cubicBezTo>
                      <a:pt x="103" y="140"/>
                      <a:pt x="106" y="142"/>
                      <a:pt x="109" y="145"/>
                    </a:cubicBezTo>
                    <a:cubicBezTo>
                      <a:pt x="110" y="145"/>
                      <a:pt x="110" y="145"/>
                      <a:pt x="110" y="145"/>
                    </a:cubicBezTo>
                    <a:cubicBezTo>
                      <a:pt x="110" y="135"/>
                      <a:pt x="112" y="125"/>
                      <a:pt x="115" y="119"/>
                    </a:cubicBezTo>
                    <a:close/>
                    <a:moveTo>
                      <a:pt x="41" y="47"/>
                    </a:moveTo>
                    <a:cubicBezTo>
                      <a:pt x="53" y="48"/>
                      <a:pt x="69" y="55"/>
                      <a:pt x="83" y="65"/>
                    </a:cubicBezTo>
                    <a:cubicBezTo>
                      <a:pt x="84" y="62"/>
                      <a:pt x="86" y="59"/>
                      <a:pt x="89" y="56"/>
                    </a:cubicBezTo>
                    <a:cubicBezTo>
                      <a:pt x="74" y="47"/>
                      <a:pt x="53" y="40"/>
                      <a:pt x="41" y="4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0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17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326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434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543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652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760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6869" algn="l" defTabSz="914217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31250"/>
                  </a:spcBef>
                  <a:spcAft>
                    <a:spcPct val="0"/>
                  </a:spcAft>
                  <a:buClr>
                    <a:srgbClr val="00529B"/>
                  </a:buClr>
                  <a:buSzPct val="100000"/>
                </a:pPr>
                <a:endParaRPr lang="en-US" sz="800" kern="0" dirty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</p:grp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F2AF431A-83CA-0E89-00F5-D30620A41121}"/>
                </a:ext>
              </a:extLst>
            </p:cNvPr>
            <p:cNvSpPr/>
            <p:nvPr/>
          </p:nvSpPr>
          <p:spPr>
            <a:xfrm>
              <a:off x="2755589" y="2233596"/>
              <a:ext cx="1219706" cy="1219706"/>
            </a:xfrm>
            <a:prstGeom prst="ellipse">
              <a:avLst/>
            </a:prstGeom>
            <a:solidFill>
              <a:srgbClr val="FFFFFF"/>
            </a:solidFill>
            <a:ln w="114300">
              <a:solidFill>
                <a:srgbClr val="335F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9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17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26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34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43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52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60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69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900" dirty="0"/>
            </a:p>
          </p:txBody>
        </p:sp>
        <p:pic>
          <p:nvPicPr>
            <p:cNvPr id="18" name="Graphic 135" descr="Footprints with solid fill">
              <a:extLst>
                <a:ext uri="{FF2B5EF4-FFF2-40B4-BE49-F238E27FC236}">
                  <a16:creationId xmlns:a16="http://schemas.microsoft.com/office/drawing/2014/main" id="{7E6086FF-4C51-7F77-46AE-819771C92B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915441" y="2393449"/>
              <a:ext cx="900000" cy="900000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CDF0513-C7C9-C0F2-7F4A-3E581839D2BF}"/>
                </a:ext>
              </a:extLst>
            </p:cNvPr>
            <p:cNvSpPr/>
            <p:nvPr/>
          </p:nvSpPr>
          <p:spPr>
            <a:xfrm>
              <a:off x="3368991" y="2200864"/>
              <a:ext cx="750828" cy="1291960"/>
            </a:xfrm>
            <a:custGeom>
              <a:avLst/>
              <a:gdLst>
                <a:gd name="connsiteX0" fmla="*/ 794870 w 800847"/>
                <a:gd name="connsiteY0" fmla="*/ 0 h 1248015"/>
                <a:gd name="connsiteX1" fmla="*/ 800847 w 800847"/>
                <a:gd name="connsiteY1" fmla="*/ 1248015 h 1248015"/>
                <a:gd name="connsiteX2" fmla="*/ 221129 w 800847"/>
                <a:gd name="connsiteY2" fmla="*/ 1241957 h 1248015"/>
                <a:gd name="connsiteX3" fmla="*/ 155388 w 800847"/>
                <a:gd name="connsiteY3" fmla="*/ 1235898 h 1248015"/>
                <a:gd name="connsiteX4" fmla="*/ 5976 w 800847"/>
                <a:gd name="connsiteY4" fmla="*/ 1235898 h 1248015"/>
                <a:gd name="connsiteX5" fmla="*/ 5700 w 800847"/>
                <a:gd name="connsiteY5" fmla="*/ 1179983 h 1248015"/>
                <a:gd name="connsiteX6" fmla="*/ 45523 w 800847"/>
                <a:gd name="connsiteY6" fmla="*/ 1183997 h 1248015"/>
                <a:gd name="connsiteX7" fmla="*/ 606017 w 800847"/>
                <a:gd name="connsiteY7" fmla="*/ 623503 h 1248015"/>
                <a:gd name="connsiteX8" fmla="*/ 45523 w 800847"/>
                <a:gd name="connsiteY8" fmla="*/ 63009 h 1248015"/>
                <a:gd name="connsiteX9" fmla="*/ 214 w 800847"/>
                <a:gd name="connsiteY9" fmla="*/ 67577 h 1248015"/>
                <a:gd name="connsiteX10" fmla="*/ 0 w 800847"/>
                <a:gd name="connsiteY10" fmla="*/ 24233 h 1248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00847" h="1248015">
                  <a:moveTo>
                    <a:pt x="794870" y="0"/>
                  </a:moveTo>
                  <a:cubicBezTo>
                    <a:pt x="796862" y="416005"/>
                    <a:pt x="798855" y="832010"/>
                    <a:pt x="800847" y="1248015"/>
                  </a:cubicBezTo>
                  <a:lnTo>
                    <a:pt x="221129" y="1241957"/>
                  </a:lnTo>
                  <a:cubicBezTo>
                    <a:pt x="199129" y="1241545"/>
                    <a:pt x="177384" y="1236518"/>
                    <a:pt x="155388" y="1235898"/>
                  </a:cubicBezTo>
                  <a:cubicBezTo>
                    <a:pt x="105603" y="1234497"/>
                    <a:pt x="55780" y="1235898"/>
                    <a:pt x="5976" y="1235898"/>
                  </a:cubicBezTo>
                  <a:lnTo>
                    <a:pt x="5700" y="1179983"/>
                  </a:lnTo>
                  <a:lnTo>
                    <a:pt x="45523" y="1183997"/>
                  </a:lnTo>
                  <a:cubicBezTo>
                    <a:pt x="355075" y="1183997"/>
                    <a:pt x="606017" y="933055"/>
                    <a:pt x="606017" y="623503"/>
                  </a:cubicBezTo>
                  <a:cubicBezTo>
                    <a:pt x="606017" y="313951"/>
                    <a:pt x="355075" y="63009"/>
                    <a:pt x="45523" y="63009"/>
                  </a:cubicBezTo>
                  <a:lnTo>
                    <a:pt x="214" y="67577"/>
                  </a:lnTo>
                  <a:lnTo>
                    <a:pt x="0" y="24233"/>
                  </a:lnTo>
                  <a:close/>
                </a:path>
              </a:pathLst>
            </a:custGeom>
            <a:solidFill>
              <a:srgbClr val="335F35"/>
            </a:solidFill>
            <a:ln>
              <a:solidFill>
                <a:srgbClr val="335F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9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17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26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34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43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52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60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69" algn="l" defTabSz="91421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220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824019C2-2AFF-8071-9033-5643E89F5E89}"/>
              </a:ext>
            </a:extLst>
          </p:cNvPr>
          <p:cNvSpPr txBox="1"/>
          <p:nvPr/>
        </p:nvSpPr>
        <p:spPr>
          <a:xfrm>
            <a:off x="430844" y="2782669"/>
            <a:ext cx="214615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i="0" u="none" strike="noStrike" dirty="0">
                <a:solidFill>
                  <a:srgbClr val="6699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stainability </a:t>
            </a:r>
            <a:r>
              <a:rPr lang="en-US" sz="1800" b="1" dirty="0">
                <a:solidFill>
                  <a:srgbClr val="66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  <a:r>
              <a:rPr lang="en-US" sz="1800" b="1" i="0" u="none" strike="noStrike" dirty="0">
                <a:solidFill>
                  <a:srgbClr val="6699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T – “Handprint”</a:t>
            </a:r>
            <a:endParaRPr lang="en-US" sz="1800" dirty="0">
              <a:solidFill>
                <a:srgbClr val="6699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24CFB33C-E845-0C4E-EC9F-4AB32CF534B9}"/>
              </a:ext>
            </a:extLst>
          </p:cNvPr>
          <p:cNvSpPr txBox="1"/>
          <p:nvPr/>
        </p:nvSpPr>
        <p:spPr>
          <a:xfrm>
            <a:off x="396873" y="4878064"/>
            <a:ext cx="218012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i="0" u="none" strike="noStrike" dirty="0">
                <a:solidFill>
                  <a:srgbClr val="335F35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stainability in IT – “Footprint”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5DE2B969-B79B-A1E1-382D-2B0F519B45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90684" y="1911521"/>
            <a:ext cx="9030164" cy="2324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9223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15"/>
          <p:cNvSpPr txBox="1"/>
          <p:nvPr/>
        </p:nvSpPr>
        <p:spPr>
          <a:xfrm>
            <a:off x="487650" y="47846"/>
            <a:ext cx="11336797" cy="38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99"/>
              <a:buFont typeface="Arial"/>
              <a:buNone/>
            </a:pPr>
            <a:r>
              <a:rPr lang="en-US" sz="3200" b="0" i="0" u="none" strike="noStrike" cap="none" dirty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IT’s early sustainability actions </a:t>
            </a:r>
            <a:r>
              <a:rPr lang="en-US" sz="3200" dirty="0">
                <a:solidFill>
                  <a:schemeClr val="accent4"/>
                </a:solidFill>
              </a:rPr>
              <a:t>follow </a:t>
            </a:r>
            <a:r>
              <a:rPr lang="en-US" sz="3200" b="0" i="0" u="none" strike="noStrike" cap="none" dirty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two parallel paths, reflecting the reference models two dimensions</a:t>
            </a:r>
            <a:endParaRPr sz="3200" b="0" i="0" u="none" strike="noStrike" cap="none" dirty="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26" name="Google Shape;326;p15"/>
          <p:cNvGrpSpPr/>
          <p:nvPr/>
        </p:nvGrpSpPr>
        <p:grpSpPr>
          <a:xfrm>
            <a:off x="1178859" y="1461247"/>
            <a:ext cx="9666425" cy="4935069"/>
            <a:chOff x="2161502" y="1658309"/>
            <a:chExt cx="7665738" cy="3750516"/>
          </a:xfrm>
        </p:grpSpPr>
        <p:grpSp>
          <p:nvGrpSpPr>
            <p:cNvPr id="327" name="Google Shape;327;p15"/>
            <p:cNvGrpSpPr/>
            <p:nvPr/>
          </p:nvGrpSpPr>
          <p:grpSpPr>
            <a:xfrm>
              <a:off x="2161502" y="1658309"/>
              <a:ext cx="7665738" cy="3750516"/>
              <a:chOff x="1113075" y="1977849"/>
              <a:chExt cx="5647636" cy="2719848"/>
            </a:xfrm>
          </p:grpSpPr>
          <p:grpSp>
            <p:nvGrpSpPr>
              <p:cNvPr id="328" name="Google Shape;328;p15"/>
              <p:cNvGrpSpPr/>
              <p:nvPr/>
            </p:nvGrpSpPr>
            <p:grpSpPr>
              <a:xfrm>
                <a:off x="1113075" y="2102048"/>
                <a:ext cx="592667" cy="1064527"/>
                <a:chOff x="1113075" y="2102048"/>
                <a:chExt cx="592667" cy="1064527"/>
              </a:xfrm>
            </p:grpSpPr>
            <p:sp>
              <p:nvSpPr>
                <p:cNvPr id="329" name="Google Shape;329;p15"/>
                <p:cNvSpPr/>
                <p:nvPr/>
              </p:nvSpPr>
              <p:spPr>
                <a:xfrm>
                  <a:off x="1113075" y="2102048"/>
                  <a:ext cx="503823" cy="1064527"/>
                </a:xfrm>
                <a:prstGeom prst="rightArrow">
                  <a:avLst>
                    <a:gd name="adj1" fmla="val 50000"/>
                    <a:gd name="adj2" fmla="val 50000"/>
                  </a:avLst>
                </a:prstGeom>
                <a:solidFill>
                  <a:srgbClr val="028F17"/>
                </a:solidFill>
                <a:ln w="25400" cap="flat" cmpd="sng">
                  <a:solidFill>
                    <a:srgbClr val="08365A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788"/>
                    <a:buFont typeface="Arial"/>
                    <a:buNone/>
                  </a:pPr>
                  <a:endParaRPr sz="788" b="0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30" name="Google Shape;330;p15"/>
                <p:cNvSpPr txBox="1"/>
                <p:nvPr/>
              </p:nvSpPr>
              <p:spPr>
                <a:xfrm>
                  <a:off x="1139237" y="2532536"/>
                  <a:ext cx="566505" cy="20354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sp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r>
                    <a:rPr lang="en-US" sz="1800" b="1" i="0" u="none" strike="noStrike" cap="none" dirty="0">
                      <a:solidFill>
                        <a:schemeClr val="lt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In IT</a:t>
                  </a:r>
                  <a:endParaRPr sz="14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331" name="Google Shape;331;p15"/>
              <p:cNvGrpSpPr/>
              <p:nvPr/>
            </p:nvGrpSpPr>
            <p:grpSpPr>
              <a:xfrm>
                <a:off x="1629518" y="1977849"/>
                <a:ext cx="5131193" cy="2719848"/>
                <a:chOff x="1629518" y="1977849"/>
                <a:chExt cx="5131193" cy="2719848"/>
              </a:xfrm>
            </p:grpSpPr>
            <p:sp>
              <p:nvSpPr>
                <p:cNvPr id="332" name="Google Shape;332;p15"/>
                <p:cNvSpPr/>
                <p:nvPr/>
              </p:nvSpPr>
              <p:spPr>
                <a:xfrm>
                  <a:off x="1629518" y="1977850"/>
                  <a:ext cx="1251416" cy="1312928"/>
                </a:xfrm>
                <a:prstGeom prst="rect">
                  <a:avLst/>
                </a:prstGeom>
                <a:solidFill>
                  <a:srgbClr val="04BF20"/>
                </a:solidFill>
                <a:ln>
                  <a:noFill/>
                </a:ln>
              </p:spPr>
              <p:txBody>
                <a:bodyPr spcFirstLastPara="1" wrap="square" lIns="51350" tIns="51350" rIns="51350" bIns="5135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788"/>
                    <a:buFont typeface="Arial"/>
                    <a:buNone/>
                  </a:pPr>
                  <a:endParaRPr sz="788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33" name="Google Shape;333;p15"/>
                <p:cNvSpPr/>
                <p:nvPr/>
              </p:nvSpPr>
              <p:spPr>
                <a:xfrm>
                  <a:off x="2900611" y="3333655"/>
                  <a:ext cx="1350764" cy="1364037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51350" tIns="51350" rIns="51350" bIns="5135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788"/>
                    <a:buFont typeface="Arial"/>
                    <a:buNone/>
                  </a:pPr>
                  <a:endParaRPr sz="788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34" name="Google Shape;334;p15"/>
                <p:cNvSpPr txBox="1"/>
                <p:nvPr/>
              </p:nvSpPr>
              <p:spPr>
                <a:xfrm>
                  <a:off x="1787017" y="2042015"/>
                  <a:ext cx="928935" cy="24281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600"/>
                    <a:buFont typeface="Arial"/>
                    <a:buNone/>
                  </a:pPr>
                  <a:r>
                    <a:rPr lang="en-US" sz="1600" b="1" i="0" u="none" strike="noStrike" cap="none" dirty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Educate &amp; engage IT staff</a:t>
                  </a:r>
                  <a:endParaRPr sz="1600" b="1" i="0" u="none" strike="noStrike" cap="none" dirty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grpSp>
              <p:nvGrpSpPr>
                <p:cNvPr id="335" name="Google Shape;335;p15"/>
                <p:cNvGrpSpPr/>
                <p:nvPr/>
              </p:nvGrpSpPr>
              <p:grpSpPr>
                <a:xfrm>
                  <a:off x="2338470" y="3468334"/>
                  <a:ext cx="592733" cy="1064527"/>
                  <a:chOff x="4526449" y="3633568"/>
                  <a:chExt cx="1053746" cy="1892493"/>
                </a:xfrm>
              </p:grpSpPr>
              <p:sp>
                <p:nvSpPr>
                  <p:cNvPr id="336" name="Google Shape;336;p15"/>
                  <p:cNvSpPr/>
                  <p:nvPr/>
                </p:nvSpPr>
                <p:spPr>
                  <a:xfrm>
                    <a:off x="4526449" y="3633568"/>
                    <a:ext cx="978154" cy="1892493"/>
                  </a:xfrm>
                  <a:prstGeom prst="rightArrow">
                    <a:avLst>
                      <a:gd name="adj1" fmla="val 50000"/>
                      <a:gd name="adj2" fmla="val 50000"/>
                    </a:avLst>
                  </a:prstGeom>
                  <a:solidFill>
                    <a:srgbClr val="C89838"/>
                  </a:solidFill>
                  <a:ln w="25400" cap="flat" cmpd="sng">
                    <a:solidFill>
                      <a:srgbClr val="08365A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Pts val="788"/>
                      <a:buFont typeface="Arial"/>
                      <a:buNone/>
                    </a:pPr>
                    <a:endParaRPr sz="788" b="0" i="0" u="none" strike="noStrike" cap="none" dirty="0">
                      <a:solidFill>
                        <a:schemeClr val="lt1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337" name="Google Shape;337;p15"/>
                  <p:cNvSpPr txBox="1"/>
                  <p:nvPr/>
                </p:nvSpPr>
                <p:spPr>
                  <a:xfrm>
                    <a:off x="4578070" y="4450094"/>
                    <a:ext cx="1002125" cy="36186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spcFirstLastPara="1" wrap="square" lIns="91425" tIns="45700" rIns="91425" bIns="45700" anchor="t" anchorCtr="0">
                    <a:spAutoFit/>
                  </a:bodyPr>
                  <a:lstStyle/>
                  <a:p>
                    <a:pPr marL="0" marR="0" lvl="0" indent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Pts val="1800"/>
                      <a:buFont typeface="Arial"/>
                      <a:buNone/>
                    </a:pPr>
                    <a:r>
                      <a:rPr lang="en-US" sz="1800" b="1" i="0" u="none" strike="noStrike" cap="none" dirty="0">
                        <a:solidFill>
                          <a:schemeClr val="lt2"/>
                        </a:solidFill>
                        <a:latin typeface="Arial"/>
                        <a:ea typeface="Arial"/>
                        <a:cs typeface="Arial"/>
                        <a:sym typeface="Arial"/>
                      </a:rPr>
                      <a:t>By IT</a:t>
                    </a:r>
                    <a:endParaRPr sz="1400" b="0" i="0" u="none" strike="noStrike" cap="none" dirty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</p:grpSp>
            <p:sp>
              <p:nvSpPr>
                <p:cNvPr id="338" name="Google Shape;338;p15"/>
                <p:cNvSpPr/>
                <p:nvPr/>
              </p:nvSpPr>
              <p:spPr>
                <a:xfrm>
                  <a:off x="2904792" y="1977849"/>
                  <a:ext cx="1346583" cy="1312928"/>
                </a:xfrm>
                <a:prstGeom prst="rect">
                  <a:avLst/>
                </a:prstGeom>
                <a:solidFill>
                  <a:srgbClr val="04BF20"/>
                </a:solidFill>
                <a:ln>
                  <a:noFill/>
                </a:ln>
              </p:spPr>
              <p:txBody>
                <a:bodyPr spcFirstLastPara="1" wrap="square" lIns="51350" tIns="51350" rIns="51350" bIns="5135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788"/>
                    <a:buFont typeface="Arial"/>
                    <a:buNone/>
                  </a:pPr>
                  <a:endParaRPr sz="788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39" name="Google Shape;339;p15"/>
                <p:cNvSpPr txBox="1"/>
                <p:nvPr/>
              </p:nvSpPr>
              <p:spPr>
                <a:xfrm>
                  <a:off x="2901567" y="2388947"/>
                  <a:ext cx="1327080" cy="66169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475" tIns="68475" rIns="68475" bIns="68475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225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400"/>
                    <a:buFont typeface="Arial"/>
                    <a:buNone/>
                  </a:pPr>
                  <a:r>
                    <a:rPr lang="en-US" sz="1400" b="0" i="0" u="none" strike="noStrike" cap="none" dirty="0">
                      <a:solidFill>
                        <a:schemeClr val="lt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Measure</a:t>
                  </a:r>
                  <a:r>
                    <a:rPr lang="en-US" sz="1100" b="0" i="0" u="none" strike="noStrike" cap="none" dirty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 </a:t>
                  </a:r>
                  <a:r>
                    <a:rPr lang="en-US" sz="1400" b="0" i="0" u="none" strike="noStrike" cap="none" dirty="0">
                      <a:solidFill>
                        <a:schemeClr val="lt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IT’s baselines in energy and emissions (DCs &amp; EUDs). Take credit for what IT is already doing that supports ESG goals.</a:t>
                  </a:r>
                  <a:endParaRPr sz="14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40" name="Google Shape;340;p15"/>
                <p:cNvSpPr txBox="1"/>
                <p:nvPr/>
              </p:nvSpPr>
              <p:spPr>
                <a:xfrm>
                  <a:off x="2908720" y="2045125"/>
                  <a:ext cx="1287607" cy="24281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600"/>
                    <a:buFont typeface="Arial"/>
                    <a:buNone/>
                  </a:pPr>
                  <a:r>
                    <a:rPr lang="en-US" sz="1600" b="1" i="0" u="none" strike="noStrike" cap="none" dirty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Build IT’s ESG credibility</a:t>
                  </a:r>
                  <a:endParaRPr sz="1600" b="1" i="0" u="none" strike="noStrike" cap="none" dirty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41" name="Google Shape;341;p15"/>
                <p:cNvSpPr txBox="1"/>
                <p:nvPr/>
              </p:nvSpPr>
              <p:spPr>
                <a:xfrm>
                  <a:off x="2944379" y="3406194"/>
                  <a:ext cx="1241455" cy="24281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600"/>
                    <a:buFont typeface="Arial"/>
                    <a:buNone/>
                  </a:pPr>
                  <a:r>
                    <a:rPr lang="en-US" sz="1600" b="1" i="0" u="none" strike="noStrike" cap="none" dirty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Present IT as a sustainability partner</a:t>
                  </a:r>
                  <a:endParaRPr sz="1600" b="1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42" name="Google Shape;342;p15"/>
                <p:cNvSpPr txBox="1"/>
                <p:nvPr/>
              </p:nvSpPr>
              <p:spPr>
                <a:xfrm>
                  <a:off x="2924460" y="3834298"/>
                  <a:ext cx="1346583" cy="61105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475" tIns="68475" rIns="68475" bIns="68475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225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400"/>
                    <a:buFont typeface="Arial"/>
                    <a:buNone/>
                  </a:pPr>
                  <a:r>
                    <a:rPr lang="en-US" sz="1400" b="0" i="0" u="none" strike="noStrike" cap="none" dirty="0">
                      <a:solidFill>
                        <a:srgbClr val="2D2D2D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Ask compliance or sustainability officers how they are collecting sustainability data and offer to automate and improve it</a:t>
                  </a:r>
                  <a:r>
                    <a:rPr lang="en-US" sz="1100" b="0" i="0" u="none" strike="noStrike" cap="none" dirty="0">
                      <a:solidFill>
                        <a:srgbClr val="2D2D2D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. </a:t>
                  </a:r>
                  <a:endParaRPr sz="1100" b="0" i="0" u="none" strike="noStrike" cap="none" dirty="0">
                    <a:solidFill>
                      <a:srgbClr val="2D2D2D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43" name="Google Shape;343;p15"/>
                <p:cNvSpPr/>
                <p:nvPr/>
              </p:nvSpPr>
              <p:spPr>
                <a:xfrm>
                  <a:off x="4287152" y="3333660"/>
                  <a:ext cx="1329508" cy="1364037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51350" tIns="51350" rIns="51350" bIns="5135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788"/>
                    <a:buFont typeface="Arial"/>
                    <a:buNone/>
                  </a:pPr>
                  <a:endParaRPr sz="788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44" name="Google Shape;344;p15"/>
                <p:cNvSpPr txBox="1"/>
                <p:nvPr/>
              </p:nvSpPr>
              <p:spPr>
                <a:xfrm>
                  <a:off x="4293286" y="3403003"/>
                  <a:ext cx="1241455" cy="24281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600"/>
                    <a:buFont typeface="Arial"/>
                    <a:buNone/>
                  </a:pPr>
                  <a:r>
                    <a:rPr lang="en-US" sz="1600" b="1" i="0" u="none" strike="noStrike" cap="none" dirty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Enable enterprise ESG data management</a:t>
                  </a:r>
                  <a:endParaRPr sz="1600" b="1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45" name="Google Shape;345;p15"/>
                <p:cNvSpPr txBox="1"/>
                <p:nvPr/>
              </p:nvSpPr>
              <p:spPr>
                <a:xfrm>
                  <a:off x="4261128" y="3852637"/>
                  <a:ext cx="1350764" cy="6802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475" tIns="68475" rIns="68475" bIns="68475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225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400"/>
                    <a:buFont typeface="Arial"/>
                    <a:buNone/>
                  </a:pPr>
                  <a:r>
                    <a:rPr lang="en-US" sz="1400" b="0" i="0" u="none" strike="noStrike" cap="none" dirty="0">
                      <a:solidFill>
                        <a:srgbClr val="2D2D2D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Develop a centralized data management platform for essential ESG data delivered by tools familiar to constituents.</a:t>
                  </a:r>
                  <a:endParaRPr sz="14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46" name="Google Shape;346;p15"/>
                <p:cNvSpPr/>
                <p:nvPr/>
              </p:nvSpPr>
              <p:spPr>
                <a:xfrm>
                  <a:off x="4275819" y="1977850"/>
                  <a:ext cx="1346583" cy="1317148"/>
                </a:xfrm>
                <a:prstGeom prst="rect">
                  <a:avLst/>
                </a:prstGeom>
                <a:solidFill>
                  <a:srgbClr val="04BF20"/>
                </a:solidFill>
                <a:ln>
                  <a:noFill/>
                </a:ln>
              </p:spPr>
              <p:txBody>
                <a:bodyPr spcFirstLastPara="1" wrap="square" lIns="51350" tIns="51350" rIns="51350" bIns="5135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788"/>
                    <a:buFont typeface="Arial"/>
                    <a:buNone/>
                  </a:pPr>
                  <a:endParaRPr sz="788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47" name="Google Shape;347;p15"/>
                <p:cNvSpPr txBox="1"/>
                <p:nvPr/>
              </p:nvSpPr>
              <p:spPr>
                <a:xfrm>
                  <a:off x="4270249" y="2039166"/>
                  <a:ext cx="1312428" cy="24281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400"/>
                    <a:buFont typeface="Arial"/>
                    <a:buNone/>
                  </a:pPr>
                  <a:endParaRPr sz="1400" b="1" i="0" u="none" strike="noStrike" cap="none" dirty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48" name="Google Shape;348;p15"/>
                <p:cNvSpPr txBox="1"/>
                <p:nvPr/>
              </p:nvSpPr>
              <p:spPr>
                <a:xfrm>
                  <a:off x="4269798" y="2393252"/>
                  <a:ext cx="1294982" cy="55282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475" tIns="68475" rIns="68475" bIns="68475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225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400"/>
                    <a:buFont typeface="Arial"/>
                    <a:buNone/>
                  </a:pPr>
                  <a:r>
                    <a:rPr lang="en-US" sz="1400" b="0" i="0" u="none" strike="noStrike" cap="none" dirty="0">
                      <a:solidFill>
                        <a:schemeClr val="lt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Drive a few short-term, visible impact initiatives that are meaningful to business and sustainability leadership.</a:t>
                  </a:r>
                  <a:endParaRPr sz="14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49" name="Google Shape;349;p15"/>
                <p:cNvSpPr txBox="1"/>
                <p:nvPr/>
              </p:nvSpPr>
              <p:spPr>
                <a:xfrm>
                  <a:off x="1650958" y="2385102"/>
                  <a:ext cx="1212189" cy="8054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475" tIns="68475" rIns="68475" bIns="68475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225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400"/>
                    <a:buFont typeface="Arial"/>
                    <a:buNone/>
                  </a:pPr>
                  <a:r>
                    <a:rPr lang="en-US" sz="1400" b="0" i="0" u="none" strike="noStrike" cap="none" dirty="0">
                      <a:solidFill>
                        <a:schemeClr val="lt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Reveal IT’s sustainability impacts &amp; how it can make a difference. Then provide staff with opportunities to contribute.</a:t>
                  </a:r>
                  <a:endParaRPr sz="1400" b="0" i="0" u="none" strike="noStrike" cap="none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50" name="Google Shape;350;p15"/>
                <p:cNvSpPr/>
                <p:nvPr/>
              </p:nvSpPr>
              <p:spPr>
                <a:xfrm>
                  <a:off x="5646260" y="1977850"/>
                  <a:ext cx="1114451" cy="2719842"/>
                </a:xfrm>
                <a:prstGeom prst="rect">
                  <a:avLst/>
                </a:prstGeom>
                <a:gradFill>
                  <a:gsLst>
                    <a:gs pos="0">
                      <a:srgbClr val="04BF20"/>
                    </a:gs>
                    <a:gs pos="16000">
                      <a:srgbClr val="04BF20"/>
                    </a:gs>
                    <a:gs pos="61000">
                      <a:srgbClr val="FFC000"/>
                    </a:gs>
                    <a:gs pos="100000">
                      <a:srgbClr val="FFC000"/>
                    </a:gs>
                  </a:gsLst>
                  <a:lin ang="5400000" scaled="0"/>
                </a:gradFill>
                <a:ln>
                  <a:noFill/>
                </a:ln>
              </p:spPr>
              <p:txBody>
                <a:bodyPr spcFirstLastPara="1" wrap="square" lIns="51350" tIns="51350" rIns="51350" bIns="5135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788"/>
                    <a:buFont typeface="Arial"/>
                    <a:buNone/>
                  </a:pPr>
                  <a:endParaRPr sz="788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51" name="Google Shape;351;p15"/>
                <p:cNvSpPr txBox="1"/>
                <p:nvPr/>
              </p:nvSpPr>
              <p:spPr>
                <a:xfrm>
                  <a:off x="5636506" y="2573390"/>
                  <a:ext cx="1085999" cy="95421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475" tIns="68475" rIns="68475" bIns="68475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225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r>
                    <a:rPr lang="en-US" sz="1800" b="0" i="0" u="none" strike="noStrike" cap="none" dirty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Blend IT and enterprise sustainability governance, pursue co-ownership of sustainability agenda/strategy &amp; shared accountability</a:t>
                  </a:r>
                  <a:r>
                    <a:rPr lang="en-US" sz="1600" b="0" i="0" u="none" strike="noStrike" cap="none" dirty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. </a:t>
                  </a:r>
                  <a:endParaRPr sz="1400" b="0" i="0" u="none" strike="noStrike" cap="none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52" name="Google Shape;352;p15"/>
                <p:cNvSpPr txBox="1"/>
                <p:nvPr/>
              </p:nvSpPr>
              <p:spPr>
                <a:xfrm>
                  <a:off x="5658879" y="2356243"/>
                  <a:ext cx="991900" cy="24281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600"/>
                    <a:buFont typeface="Arial"/>
                    <a:buNone/>
                  </a:pPr>
                  <a:r>
                    <a:rPr lang="en-US" sz="1600" b="1" i="0" u="none" strike="noStrike" cap="none" dirty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Team up</a:t>
                  </a:r>
                  <a:endParaRPr sz="1600" b="1" i="0" u="none" strike="noStrike" cap="none" dirty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  <p:sp>
          <p:nvSpPr>
            <p:cNvPr id="353" name="Google Shape;353;p15"/>
            <p:cNvSpPr txBox="1"/>
            <p:nvPr/>
          </p:nvSpPr>
          <p:spPr>
            <a:xfrm>
              <a:off x="6497664" y="1753703"/>
              <a:ext cx="1747715" cy="3348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600" b="1" i="0" u="none" strike="noStrike" cap="none" dirty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Achieve early environmental wins</a:t>
              </a:r>
              <a:endParaRPr sz="16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3304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30" name="Google Shape;4430;g29dc826ff17_0_0"/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0209" y="441105"/>
            <a:ext cx="5943736" cy="5975791"/>
          </a:xfrm>
          <a:prstGeom prst="rect">
            <a:avLst/>
          </a:prstGeom>
          <a:noFill/>
          <a:ln>
            <a:noFill/>
          </a:ln>
          <a:effectLst>
            <a:outerShdw blurRad="628650" algn="bl" rotWithShape="0">
              <a:srgbClr val="DED185">
                <a:alpha val="20000"/>
              </a:srgbClr>
            </a:outerShdw>
          </a:effectLst>
        </p:spPr>
      </p:pic>
      <p:sp>
        <p:nvSpPr>
          <p:cNvPr id="4431" name="Google Shape;4431;g29dc826ff17_0_0"/>
          <p:cNvSpPr txBox="1"/>
          <p:nvPr/>
        </p:nvSpPr>
        <p:spPr>
          <a:xfrm>
            <a:off x="440209" y="5996869"/>
            <a:ext cx="5943852" cy="3354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3000"/>
              <a:buFont typeface="Arial"/>
              <a:buNone/>
            </a:pPr>
            <a:r>
              <a:rPr lang="en-US" sz="1400" b="0" i="1" u="none" strike="noStrike" cap="none" dirty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rPr>
              <a:t>Advancing Global Sustainability through Technology Leadership</a:t>
            </a:r>
            <a:endParaRPr sz="1400" b="0" i="1" u="none" strike="noStrike" cap="none" dirty="0">
              <a:solidFill>
                <a:schemeClr val="lt1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4432" name="Google Shape;4432;g29dc826ff17_0_0"/>
          <p:cNvPicPr preferRelativeResize="0"/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189" y="740124"/>
            <a:ext cx="1726639" cy="583417"/>
          </a:xfrm>
          <a:prstGeom prst="rect">
            <a:avLst/>
          </a:prstGeom>
          <a:noFill/>
          <a:ln>
            <a:noFill/>
          </a:ln>
        </p:spPr>
      </p:pic>
      <p:sp>
        <p:nvSpPr>
          <p:cNvPr id="4433" name="Google Shape;4433;g29dc826ff17_0_0"/>
          <p:cNvSpPr/>
          <p:nvPr/>
        </p:nvSpPr>
        <p:spPr>
          <a:xfrm>
            <a:off x="5542950" y="1449001"/>
            <a:ext cx="6205684" cy="3959869"/>
          </a:xfrm>
          <a:prstGeom prst="rect">
            <a:avLst/>
          </a:prstGeom>
          <a:gradFill>
            <a:gsLst>
              <a:gs pos="0">
                <a:srgbClr val="1381D7"/>
              </a:gs>
              <a:gs pos="100000">
                <a:srgbClr val="04BF20"/>
              </a:gs>
            </a:gsLst>
            <a:lin ang="8099331" scaled="0"/>
          </a:gradFill>
          <a:ln>
            <a:noFill/>
          </a:ln>
        </p:spPr>
        <p:txBody>
          <a:bodyPr spcFirstLastPara="1" wrap="square" lIns="91401" tIns="91401" rIns="91401" bIns="91401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34" name="Google Shape;4434;g29dc826ff17_0_0"/>
          <p:cNvSpPr txBox="1"/>
          <p:nvPr/>
        </p:nvSpPr>
        <p:spPr>
          <a:xfrm>
            <a:off x="6094412" y="1715950"/>
            <a:ext cx="4905222" cy="10923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3000"/>
              <a:buFont typeface="Arial"/>
              <a:buNone/>
            </a:pPr>
            <a:r>
              <a:rPr lang="en-US" sz="5998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tact Us</a:t>
            </a:r>
            <a:endParaRPr sz="5998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435" name="Google Shape;4435;g29dc826ff17_0_0"/>
          <p:cNvGrpSpPr/>
          <p:nvPr/>
        </p:nvGrpSpPr>
        <p:grpSpPr>
          <a:xfrm>
            <a:off x="6094411" y="3164078"/>
            <a:ext cx="4579911" cy="1805448"/>
            <a:chOff x="6095999" y="3016318"/>
            <a:chExt cx="4581104" cy="1805918"/>
          </a:xfrm>
        </p:grpSpPr>
        <p:grpSp>
          <p:nvGrpSpPr>
            <p:cNvPr id="4436" name="Google Shape;4436;g29dc826ff17_0_0"/>
            <p:cNvGrpSpPr/>
            <p:nvPr/>
          </p:nvGrpSpPr>
          <p:grpSpPr>
            <a:xfrm>
              <a:off x="6096000" y="3016318"/>
              <a:ext cx="4581103" cy="425696"/>
              <a:chOff x="6096000" y="3154062"/>
              <a:chExt cx="4581103" cy="425696"/>
            </a:xfrm>
          </p:grpSpPr>
          <p:pic>
            <p:nvPicPr>
              <p:cNvPr id="4437" name="Google Shape;4437;g29dc826ff17_0_0"/>
              <p:cNvPicPr preferRelativeResize="0"/>
              <p:nvPr/>
            </p:nvPicPr>
            <p:blipFill rotWithShape="1">
              <a:blip r:embed="rId5" cstate="screen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096000" y="3223140"/>
                <a:ext cx="353715" cy="356618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4438" name="Google Shape;4438;g29dc826ff17_0_0"/>
              <p:cNvSpPr txBox="1"/>
              <p:nvPr/>
            </p:nvSpPr>
            <p:spPr>
              <a:xfrm>
                <a:off x="6764803" y="3154062"/>
                <a:ext cx="3912300" cy="30080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700"/>
                  <a:buFont typeface="Arial"/>
                  <a:buNone/>
                </a:pPr>
                <a:r>
                  <a:rPr lang="en-US" sz="1699" b="0" i="0" u="none" strike="noStrike" cap="none" dirty="0">
                    <a:solidFill>
                      <a:schemeClr val="lt1"/>
                    </a:solidFill>
                    <a:latin typeface="Proxima Nova"/>
                    <a:ea typeface="Proxima Nova"/>
                    <a:cs typeface="Proxima Nova"/>
                    <a:sym typeface="Proxima Nova"/>
                  </a:rPr>
                  <a:t>Steve Rovniak  |  </a:t>
                </a:r>
                <a:r>
                  <a:rPr lang="en-US" sz="1699" dirty="0">
                    <a:solidFill>
                      <a:schemeClr val="lt1"/>
                    </a:solidFill>
                    <a:latin typeface="Proxima Nova"/>
                    <a:ea typeface="Proxima Nova"/>
                    <a:cs typeface="Proxima Nova"/>
                    <a:sym typeface="Proxima Nova"/>
                  </a:rPr>
                  <a:t>Vice President</a:t>
                </a:r>
                <a:endParaRPr sz="1699" b="0" i="0" u="none" strike="noStrike" cap="none" dirty="0">
                  <a:solidFill>
                    <a:schemeClr val="lt1"/>
                  </a:solidFill>
                  <a:latin typeface="Proxima Nova"/>
                  <a:ea typeface="Proxima Nova"/>
                  <a:cs typeface="Proxima Nova"/>
                  <a:sym typeface="Proxima Nova"/>
                </a:endParaRPr>
              </a:p>
            </p:txBody>
          </p:sp>
        </p:grpSp>
        <p:grpSp>
          <p:nvGrpSpPr>
            <p:cNvPr id="4439" name="Google Shape;4439;g29dc826ff17_0_0"/>
            <p:cNvGrpSpPr/>
            <p:nvPr/>
          </p:nvGrpSpPr>
          <p:grpSpPr>
            <a:xfrm>
              <a:off x="6095999" y="3705882"/>
              <a:ext cx="4238998" cy="446400"/>
              <a:chOff x="6095999" y="3843626"/>
              <a:chExt cx="4238998" cy="446400"/>
            </a:xfrm>
          </p:grpSpPr>
          <p:pic>
            <p:nvPicPr>
              <p:cNvPr id="4440" name="Google Shape;4440;g29dc826ff17_0_0"/>
              <p:cNvPicPr preferRelativeResize="0"/>
              <p:nvPr/>
            </p:nvPicPr>
            <p:blipFill rotWithShape="1">
              <a:blip r:embed="rId6" cstate="screen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095999" y="3894221"/>
                <a:ext cx="353715" cy="353715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4441" name="Google Shape;4441;g29dc826ff17_0_0"/>
              <p:cNvSpPr txBox="1"/>
              <p:nvPr/>
            </p:nvSpPr>
            <p:spPr>
              <a:xfrm>
                <a:off x="6763497" y="3843626"/>
                <a:ext cx="3571500" cy="4464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91401" rIns="91401" bIns="91401" anchor="ctr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700"/>
                  <a:buFont typeface="Arial"/>
                  <a:buNone/>
                </a:pPr>
                <a:r>
                  <a:rPr lang="en-US" sz="1699" b="0" i="0" u="none" strike="noStrike" cap="none" dirty="0">
                    <a:solidFill>
                      <a:schemeClr val="lt1"/>
                    </a:solidFill>
                    <a:latin typeface="Proxima Nova"/>
                    <a:ea typeface="Proxima Nova"/>
                    <a:cs typeface="Proxima Nova"/>
                    <a:sym typeface="Proxima Nova"/>
                  </a:rPr>
                  <a:t>(M) +1 </a:t>
                </a:r>
                <a:r>
                  <a:rPr lang="en-US" sz="1699" dirty="0">
                    <a:solidFill>
                      <a:schemeClr val="lt1"/>
                    </a:solidFill>
                    <a:latin typeface="Proxima Nova"/>
                    <a:ea typeface="Proxima Nova"/>
                    <a:cs typeface="Proxima Nova"/>
                    <a:sym typeface="Proxima Nova"/>
                  </a:rPr>
                  <a:t>617</a:t>
                </a:r>
                <a:r>
                  <a:rPr lang="en-US" sz="1699" b="0" i="0" u="none" strike="noStrike" cap="none" dirty="0">
                    <a:solidFill>
                      <a:schemeClr val="lt1"/>
                    </a:solidFill>
                    <a:latin typeface="Proxima Nova"/>
                    <a:ea typeface="Proxima Nova"/>
                    <a:cs typeface="Proxima Nova"/>
                    <a:sym typeface="Proxima Nova"/>
                  </a:rPr>
                  <a:t>.970.7720</a:t>
                </a:r>
                <a:endParaRPr sz="1699" b="0" i="0" u="none" strike="noStrike" cap="none" dirty="0">
                  <a:solidFill>
                    <a:schemeClr val="lt1"/>
                  </a:solidFill>
                  <a:latin typeface="Proxima Nova"/>
                  <a:ea typeface="Proxima Nova"/>
                  <a:cs typeface="Proxima Nova"/>
                  <a:sym typeface="Proxima Nova"/>
                </a:endParaRPr>
              </a:p>
            </p:txBody>
          </p:sp>
        </p:grpSp>
        <p:grpSp>
          <p:nvGrpSpPr>
            <p:cNvPr id="4442" name="Google Shape;4442;g29dc826ff17_0_0"/>
            <p:cNvGrpSpPr/>
            <p:nvPr/>
          </p:nvGrpSpPr>
          <p:grpSpPr>
            <a:xfrm>
              <a:off x="6095999" y="4374036"/>
              <a:ext cx="4006798" cy="448200"/>
              <a:chOff x="6095999" y="4511780"/>
              <a:chExt cx="4006798" cy="448200"/>
            </a:xfrm>
          </p:grpSpPr>
          <p:pic>
            <p:nvPicPr>
              <p:cNvPr id="4443" name="Google Shape;4443;g29dc826ff17_0_0"/>
              <p:cNvPicPr preferRelativeResize="0"/>
              <p:nvPr/>
            </p:nvPicPr>
            <p:blipFill rotWithShape="1">
              <a:blip r:embed="rId7" cstate="screen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095999" y="4611593"/>
                <a:ext cx="368205" cy="248432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4444" name="Google Shape;4444;g29dc826ff17_0_0">
                <a:hlinkClick r:id="rId8"/>
              </p:cNvPr>
              <p:cNvSpPr/>
              <p:nvPr/>
            </p:nvSpPr>
            <p:spPr>
              <a:xfrm>
                <a:off x="6763497" y="4511780"/>
                <a:ext cx="3339300" cy="4482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700"/>
                  <a:buFont typeface="Arial"/>
                  <a:buNone/>
                </a:pPr>
                <a:r>
                  <a:rPr lang="en-US" sz="1699" b="0" i="0" u="none" strike="noStrike" cap="none" dirty="0">
                    <a:solidFill>
                      <a:schemeClr val="lt1"/>
                    </a:solidFill>
                    <a:latin typeface="Proxima Nova"/>
                    <a:ea typeface="Proxima Nova"/>
                    <a:cs typeface="Proxima Nova"/>
                    <a:sym typeface="Proxima Nova"/>
                  </a:rPr>
                  <a:t>Steve.Rovniak@sustainableIT.org</a:t>
                </a:r>
                <a:endParaRPr sz="14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cxnSp>
        <p:nvCxnSpPr>
          <p:cNvPr id="4445" name="Google Shape;4445;g29dc826ff17_0_0"/>
          <p:cNvCxnSpPr/>
          <p:nvPr/>
        </p:nvCxnSpPr>
        <p:spPr>
          <a:xfrm>
            <a:off x="6094411" y="2695939"/>
            <a:ext cx="5654127" cy="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9891729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stainableit-presentation-template">
  <a:themeElements>
    <a:clrScheme name="Simple Light">
      <a:dk1>
        <a:srgbClr val="000000"/>
      </a:dk1>
      <a:lt1>
        <a:srgbClr val="FFFFFF"/>
      </a:lt1>
      <a:dk2>
        <a:srgbClr val="2D2D2D"/>
      </a:dk2>
      <a:lt2>
        <a:srgbClr val="EEEEEE"/>
      </a:lt2>
      <a:accent1>
        <a:srgbClr val="1381D7"/>
      </a:accent1>
      <a:accent2>
        <a:srgbClr val="054C82"/>
      </a:accent2>
      <a:accent3>
        <a:srgbClr val="004E66"/>
      </a:accent3>
      <a:accent4>
        <a:srgbClr val="04BF20"/>
      </a:accent4>
      <a:accent5>
        <a:srgbClr val="FFCC33"/>
      </a:accent5>
      <a:accent6>
        <a:srgbClr val="1AD6F5"/>
      </a:accent6>
      <a:hlink>
        <a:srgbClr val="B22E74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ustainableit-presentation-template">
  <a:themeElements>
    <a:clrScheme name="Simple Light">
      <a:dk1>
        <a:srgbClr val="000000"/>
      </a:dk1>
      <a:lt1>
        <a:srgbClr val="FFFFFF"/>
      </a:lt1>
      <a:dk2>
        <a:srgbClr val="2D2D2D"/>
      </a:dk2>
      <a:lt2>
        <a:srgbClr val="EEEEEE"/>
      </a:lt2>
      <a:accent1>
        <a:srgbClr val="1381D7"/>
      </a:accent1>
      <a:accent2>
        <a:srgbClr val="054C82"/>
      </a:accent2>
      <a:accent3>
        <a:srgbClr val="004E66"/>
      </a:accent3>
      <a:accent4>
        <a:srgbClr val="04BF20"/>
      </a:accent4>
      <a:accent5>
        <a:srgbClr val="FFCC33"/>
      </a:accent5>
      <a:accent6>
        <a:srgbClr val="1AD6F5"/>
      </a:accent6>
      <a:hlink>
        <a:srgbClr val="B22E74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Deloitte Consulting Scrapbook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_CommercialOrg_template_2020" id="{D32F86C5-6E97-174B-AF1F-49E790DA0834}" vid="{A6D12DED-5EF3-5249-A518-6826C0E517DB}"/>
    </a:ext>
  </a:extLst>
</a:theme>
</file>

<file path=ppt/theme/theme4.xml><?xml version="1.0" encoding="utf-8"?>
<a:theme xmlns:a="http://schemas.openxmlformats.org/drawingml/2006/main" name="Deloitte Consulting Scrapbook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_CommercialOrg_template_2020" id="{D32F86C5-6E97-174B-AF1F-49E790DA0834}" vid="{A6D12DED-5EF3-5249-A518-6826C0E517DB}"/>
    </a:ext>
  </a:extLst>
</a:theme>
</file>

<file path=ppt/theme/theme5.xml><?xml version="1.0" encoding="utf-8"?>
<a:theme xmlns:a="http://schemas.openxmlformats.org/drawingml/2006/main" name="sustainableit-presentation-template">
  <a:themeElements>
    <a:clrScheme name="Simple Light">
      <a:dk1>
        <a:srgbClr val="000000"/>
      </a:dk1>
      <a:lt1>
        <a:srgbClr val="FFFFFF"/>
      </a:lt1>
      <a:dk2>
        <a:srgbClr val="2D2D2D"/>
      </a:dk2>
      <a:lt2>
        <a:srgbClr val="EEEEEE"/>
      </a:lt2>
      <a:accent1>
        <a:srgbClr val="1381D7"/>
      </a:accent1>
      <a:accent2>
        <a:srgbClr val="054C82"/>
      </a:accent2>
      <a:accent3>
        <a:srgbClr val="004E66"/>
      </a:accent3>
      <a:accent4>
        <a:srgbClr val="04BF20"/>
      </a:accent4>
      <a:accent5>
        <a:srgbClr val="FFCC33"/>
      </a:accent5>
      <a:accent6>
        <a:srgbClr val="1AD6F5"/>
      </a:accent6>
      <a:hlink>
        <a:srgbClr val="B22E74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sustainableit-presentation-template">
  <a:themeElements>
    <a:clrScheme name="Simple Light">
      <a:dk1>
        <a:srgbClr val="000000"/>
      </a:dk1>
      <a:lt1>
        <a:srgbClr val="FFFFFF"/>
      </a:lt1>
      <a:dk2>
        <a:srgbClr val="2D2D2D"/>
      </a:dk2>
      <a:lt2>
        <a:srgbClr val="EEEEEE"/>
      </a:lt2>
      <a:accent1>
        <a:srgbClr val="1381D7"/>
      </a:accent1>
      <a:accent2>
        <a:srgbClr val="054C82"/>
      </a:accent2>
      <a:accent3>
        <a:srgbClr val="004E66"/>
      </a:accent3>
      <a:accent4>
        <a:srgbClr val="04BF20"/>
      </a:accent4>
      <a:accent5>
        <a:srgbClr val="FFCC33"/>
      </a:accent5>
      <a:accent6>
        <a:srgbClr val="1AD6F5"/>
      </a:accent6>
      <a:hlink>
        <a:srgbClr val="B22E74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Custom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52</TotalTime>
  <Words>501</Words>
  <Application>Microsoft Office PowerPoint</Application>
  <PresentationFormat>Custom</PresentationFormat>
  <Paragraphs>68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5" baseType="lpstr">
      <vt:lpstr>Verdana</vt:lpstr>
      <vt:lpstr>Calibri</vt:lpstr>
      <vt:lpstr>Open Sans</vt:lpstr>
      <vt:lpstr>Arial</vt:lpstr>
      <vt:lpstr>Lato Light</vt:lpstr>
      <vt:lpstr>Helvetica Neue</vt:lpstr>
      <vt:lpstr>Noto Sans</vt:lpstr>
      <vt:lpstr>Nexa Black</vt:lpstr>
      <vt:lpstr>Proxima Nova</vt:lpstr>
      <vt:lpstr>Open Sans SemiBold</vt:lpstr>
      <vt:lpstr>sustainableit-presentation-template</vt:lpstr>
      <vt:lpstr>sustainableit-presentation-template</vt:lpstr>
      <vt:lpstr>Deloitte Consulting Scrapbook</vt:lpstr>
      <vt:lpstr>Deloitte Consulting Scrapbook</vt:lpstr>
      <vt:lpstr>sustainableit-presentation-template</vt:lpstr>
      <vt:lpstr>sustainableit-presentation-template</vt:lpstr>
      <vt:lpstr>Custom</vt:lpstr>
      <vt:lpstr>think-cell Slide</vt:lpstr>
      <vt:lpstr>SUSTAINABLEIT.ORG</vt:lpstr>
      <vt:lpstr>PowerPoint Presentation</vt:lpstr>
      <vt:lpstr>Introduction: Sustainable IT Reference Model©</vt:lpstr>
      <vt:lpstr>Sustainable IT Reference Model©</vt:lpstr>
      <vt:lpstr>The Model aligns with the sustainability Footprint &amp; Handprint framework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STAINABLEIT.ORG</dc:title>
  <dc:creator>Rick Pastore</dc:creator>
  <cp:lastModifiedBy>Rick Pastore</cp:lastModifiedBy>
  <cp:revision>100</cp:revision>
  <dcterms:modified xsi:type="dcterms:W3CDTF">2025-11-22T17:09:15Z</dcterms:modified>
</cp:coreProperties>
</file>